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</p:sldMasterIdLst>
  <p:notesMasterIdLst>
    <p:notesMasterId r:id="rId12"/>
  </p:notesMasterIdLst>
  <p:sldIdLst>
    <p:sldId id="790" r:id="rId3"/>
    <p:sldId id="773" r:id="rId4"/>
    <p:sldId id="774" r:id="rId5"/>
    <p:sldId id="775" r:id="rId6"/>
    <p:sldId id="789" r:id="rId7"/>
    <p:sldId id="310" r:id="rId8"/>
    <p:sldId id="792" r:id="rId9"/>
    <p:sldId id="782" r:id="rId10"/>
    <p:sldId id="269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05B639D-3F46-4050-B37A-17CBD3440179}" v="159" dt="2020-03-25T06:02:48.4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>
        <p:scale>
          <a:sx n="60" d="100"/>
          <a:sy n="60" d="100"/>
        </p:scale>
        <p:origin x="1387" y="5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yo Jongejans" userId="1f29305fda79f653" providerId="LiveId" clId="{D05B639D-3F46-4050-B37A-17CBD3440179}"/>
    <pc:docChg chg="undo custSel modSld">
      <pc:chgData name="Hayo Jongejans" userId="1f29305fda79f653" providerId="LiveId" clId="{D05B639D-3F46-4050-B37A-17CBD3440179}" dt="2020-03-25T06:03:10.481" v="300" actId="478"/>
      <pc:docMkLst>
        <pc:docMk/>
      </pc:docMkLst>
      <pc:sldChg chg="addSp delSp modSp mod">
        <pc:chgData name="Hayo Jongejans" userId="1f29305fda79f653" providerId="LiveId" clId="{D05B639D-3F46-4050-B37A-17CBD3440179}" dt="2020-03-25T06:03:10.481" v="300" actId="478"/>
        <pc:sldMkLst>
          <pc:docMk/>
          <pc:sldMk cId="3373871485" sldId="269"/>
        </pc:sldMkLst>
        <pc:spChg chg="del">
          <ac:chgData name="Hayo Jongejans" userId="1f29305fda79f653" providerId="LiveId" clId="{D05B639D-3F46-4050-B37A-17CBD3440179}" dt="2020-03-25T06:02:59.500" v="299" actId="478"/>
          <ac:spMkLst>
            <pc:docMk/>
            <pc:sldMk cId="3373871485" sldId="269"/>
            <ac:spMk id="3" creationId="{6E28B97E-5908-4428-A0EE-BACC433CB797}"/>
          </ac:spMkLst>
        </pc:spChg>
        <pc:spChg chg="add del mod">
          <ac:chgData name="Hayo Jongejans" userId="1f29305fda79f653" providerId="LiveId" clId="{D05B639D-3F46-4050-B37A-17CBD3440179}" dt="2020-03-25T06:03:10.481" v="300" actId="478"/>
          <ac:spMkLst>
            <pc:docMk/>
            <pc:sldMk cId="3373871485" sldId="269"/>
            <ac:spMk id="5" creationId="{E97B6F94-B743-4A56-93C1-E8D35E75AA08}"/>
          </ac:spMkLst>
        </pc:spChg>
        <pc:spChg chg="add">
          <ac:chgData name="Hayo Jongejans" userId="1f29305fda79f653" providerId="LiveId" clId="{D05B639D-3F46-4050-B37A-17CBD3440179}" dt="2020-03-25T06:02:48.454" v="298"/>
          <ac:spMkLst>
            <pc:docMk/>
            <pc:sldMk cId="3373871485" sldId="269"/>
            <ac:spMk id="7" creationId="{E5F807FF-7DA1-4C11-8D40-5D8BD67E5893}"/>
          </ac:spMkLst>
        </pc:spChg>
        <pc:spChg chg="del">
          <ac:chgData name="Hayo Jongejans" userId="1f29305fda79f653" providerId="LiveId" clId="{D05B639D-3F46-4050-B37A-17CBD3440179}" dt="2020-03-25T06:02:39.287" v="297" actId="478"/>
          <ac:spMkLst>
            <pc:docMk/>
            <pc:sldMk cId="3373871485" sldId="269"/>
            <ac:spMk id="9" creationId="{4AADAF10-3312-49AA-B20C-C985CC5905CF}"/>
          </ac:spMkLst>
        </pc:spChg>
      </pc:sldChg>
      <pc:sldChg chg="modSp mod">
        <pc:chgData name="Hayo Jongejans" userId="1f29305fda79f653" providerId="LiveId" clId="{D05B639D-3F46-4050-B37A-17CBD3440179}" dt="2020-03-25T03:35:23.422" v="261" actId="1036"/>
        <pc:sldMkLst>
          <pc:docMk/>
          <pc:sldMk cId="651044936" sldId="310"/>
        </pc:sldMkLst>
        <pc:spChg chg="mod">
          <ac:chgData name="Hayo Jongejans" userId="1f29305fda79f653" providerId="LiveId" clId="{D05B639D-3F46-4050-B37A-17CBD3440179}" dt="2020-03-25T03:35:23.422" v="261" actId="1036"/>
          <ac:spMkLst>
            <pc:docMk/>
            <pc:sldMk cId="651044936" sldId="310"/>
            <ac:spMk id="46" creationId="{E3ABC37E-6213-4536-9473-004FAB156C44}"/>
          </ac:spMkLst>
        </pc:spChg>
        <pc:picChg chg="mod">
          <ac:chgData name="Hayo Jongejans" userId="1f29305fda79f653" providerId="LiveId" clId="{D05B639D-3F46-4050-B37A-17CBD3440179}" dt="2020-03-25T03:35:17.829" v="257" actId="1076"/>
          <ac:picMkLst>
            <pc:docMk/>
            <pc:sldMk cId="651044936" sldId="310"/>
            <ac:picMk id="9" creationId="{4C0F2620-ABCE-4C74-886C-24AAE99856C4}"/>
          </ac:picMkLst>
        </pc:picChg>
      </pc:sldChg>
      <pc:sldChg chg="addSp delSp modSp mod">
        <pc:chgData name="Hayo Jongejans" userId="1f29305fda79f653" providerId="LiveId" clId="{D05B639D-3F46-4050-B37A-17CBD3440179}" dt="2020-03-25T03:37:48.888" v="295" actId="1035"/>
        <pc:sldMkLst>
          <pc:docMk/>
          <pc:sldMk cId="4190549596" sldId="773"/>
        </pc:sldMkLst>
        <pc:spChg chg="mod">
          <ac:chgData name="Hayo Jongejans" userId="1f29305fda79f653" providerId="LiveId" clId="{D05B639D-3F46-4050-B37A-17CBD3440179}" dt="2020-03-25T03:37:40.887" v="289" actId="1036"/>
          <ac:spMkLst>
            <pc:docMk/>
            <pc:sldMk cId="4190549596" sldId="773"/>
            <ac:spMk id="9" creationId="{55E18469-18CA-4DF7-AEE8-8F623944042A}"/>
          </ac:spMkLst>
        </pc:spChg>
        <pc:spChg chg="mod">
          <ac:chgData name="Hayo Jongejans" userId="1f29305fda79f653" providerId="LiveId" clId="{D05B639D-3F46-4050-B37A-17CBD3440179}" dt="2020-03-25T03:34:00.939" v="244" actId="207"/>
          <ac:spMkLst>
            <pc:docMk/>
            <pc:sldMk cId="4190549596" sldId="773"/>
            <ac:spMk id="10" creationId="{CD46A47A-1F4F-464C-8FAD-26BE0E40A134}"/>
          </ac:spMkLst>
        </pc:spChg>
        <pc:spChg chg="mod">
          <ac:chgData name="Hayo Jongejans" userId="1f29305fda79f653" providerId="LiveId" clId="{D05B639D-3F46-4050-B37A-17CBD3440179}" dt="2020-03-25T03:33:13.905" v="236" actId="207"/>
          <ac:spMkLst>
            <pc:docMk/>
            <pc:sldMk cId="4190549596" sldId="773"/>
            <ac:spMk id="11" creationId="{C54B12AA-B880-4485-9D59-B53CFF745721}"/>
          </ac:spMkLst>
        </pc:spChg>
        <pc:spChg chg="mod">
          <ac:chgData name="Hayo Jongejans" userId="1f29305fda79f653" providerId="LiveId" clId="{D05B639D-3F46-4050-B37A-17CBD3440179}" dt="2020-03-25T03:34:54.139" v="255" actId="207"/>
          <ac:spMkLst>
            <pc:docMk/>
            <pc:sldMk cId="4190549596" sldId="773"/>
            <ac:spMk id="12" creationId="{3FA06408-1882-4C13-8DFC-FBDA92F745C0}"/>
          </ac:spMkLst>
        </pc:spChg>
        <pc:spChg chg="mod">
          <ac:chgData name="Hayo Jongejans" userId="1f29305fda79f653" providerId="LiveId" clId="{D05B639D-3F46-4050-B37A-17CBD3440179}" dt="2020-03-25T03:33:31.996" v="239" actId="207"/>
          <ac:spMkLst>
            <pc:docMk/>
            <pc:sldMk cId="4190549596" sldId="773"/>
            <ac:spMk id="13" creationId="{4BF820BA-9F2D-4872-8B3D-EC1D07BA2348}"/>
          </ac:spMkLst>
        </pc:spChg>
        <pc:spChg chg="mod">
          <ac:chgData name="Hayo Jongejans" userId="1f29305fda79f653" providerId="LiveId" clId="{D05B639D-3F46-4050-B37A-17CBD3440179}" dt="2020-03-25T03:33:40.234" v="241" actId="207"/>
          <ac:spMkLst>
            <pc:docMk/>
            <pc:sldMk cId="4190549596" sldId="773"/>
            <ac:spMk id="14" creationId="{AB74931A-CA18-438C-908E-3EAB1FC2F9A6}"/>
          </ac:spMkLst>
        </pc:spChg>
        <pc:spChg chg="mod">
          <ac:chgData name="Hayo Jongejans" userId="1f29305fda79f653" providerId="LiveId" clId="{D05B639D-3F46-4050-B37A-17CBD3440179}" dt="2020-03-25T03:33:06.277" v="234" actId="207"/>
          <ac:spMkLst>
            <pc:docMk/>
            <pc:sldMk cId="4190549596" sldId="773"/>
            <ac:spMk id="15" creationId="{171665C3-70E3-4690-8A43-4053740C913B}"/>
          </ac:spMkLst>
        </pc:spChg>
        <pc:spChg chg="mod">
          <ac:chgData name="Hayo Jongejans" userId="1f29305fda79f653" providerId="LiveId" clId="{D05B639D-3F46-4050-B37A-17CBD3440179}" dt="2020-03-25T03:32:11.662" v="229" actId="207"/>
          <ac:spMkLst>
            <pc:docMk/>
            <pc:sldMk cId="4190549596" sldId="773"/>
            <ac:spMk id="16" creationId="{2B573E54-EC2F-4FAC-BEF6-53037FC53810}"/>
          </ac:spMkLst>
        </pc:spChg>
        <pc:spChg chg="mod">
          <ac:chgData name="Hayo Jongejans" userId="1f29305fda79f653" providerId="LiveId" clId="{D05B639D-3F46-4050-B37A-17CBD3440179}" dt="2020-03-25T03:31:48.871" v="224" actId="207"/>
          <ac:spMkLst>
            <pc:docMk/>
            <pc:sldMk cId="4190549596" sldId="773"/>
            <ac:spMk id="17" creationId="{1E07B972-9199-4F28-BDD8-0F2EBA98BB3E}"/>
          </ac:spMkLst>
        </pc:spChg>
        <pc:spChg chg="mod">
          <ac:chgData name="Hayo Jongejans" userId="1f29305fda79f653" providerId="LiveId" clId="{D05B639D-3F46-4050-B37A-17CBD3440179}" dt="2020-03-25T03:32:40.245" v="231" actId="207"/>
          <ac:spMkLst>
            <pc:docMk/>
            <pc:sldMk cId="4190549596" sldId="773"/>
            <ac:spMk id="18" creationId="{98BC68BA-85F3-42B3-A34B-0A256BAF1166}"/>
          </ac:spMkLst>
        </pc:spChg>
        <pc:spChg chg="mod">
          <ac:chgData name="Hayo Jongejans" userId="1f29305fda79f653" providerId="LiveId" clId="{D05B639D-3F46-4050-B37A-17CBD3440179}" dt="2020-03-25T03:33:28.409" v="238" actId="207"/>
          <ac:spMkLst>
            <pc:docMk/>
            <pc:sldMk cId="4190549596" sldId="773"/>
            <ac:spMk id="22" creationId="{1FDEF8B7-B5C2-4C52-80AB-57DB268154B5}"/>
          </ac:spMkLst>
        </pc:spChg>
        <pc:spChg chg="mod">
          <ac:chgData name="Hayo Jongejans" userId="1f29305fda79f653" providerId="LiveId" clId="{D05B639D-3F46-4050-B37A-17CBD3440179}" dt="2020-03-25T03:32:40.245" v="231" actId="207"/>
          <ac:spMkLst>
            <pc:docMk/>
            <pc:sldMk cId="4190549596" sldId="773"/>
            <ac:spMk id="26" creationId="{29457DBB-22AF-4C2F-AA33-58F47AFE0AFC}"/>
          </ac:spMkLst>
        </pc:spChg>
        <pc:spChg chg="mod">
          <ac:chgData name="Hayo Jongejans" userId="1f29305fda79f653" providerId="LiveId" clId="{D05B639D-3F46-4050-B37A-17CBD3440179}" dt="2020-03-25T03:33:24.276" v="237" actId="207"/>
          <ac:spMkLst>
            <pc:docMk/>
            <pc:sldMk cId="4190549596" sldId="773"/>
            <ac:spMk id="28" creationId="{8AC19C3A-68C1-484F-9F91-E5AC98E19950}"/>
          </ac:spMkLst>
        </pc:spChg>
        <pc:spChg chg="add del">
          <ac:chgData name="Hayo Jongejans" userId="1f29305fda79f653" providerId="LiveId" clId="{D05B639D-3F46-4050-B37A-17CBD3440179}" dt="2020-03-25T03:35:45.133" v="268" actId="478"/>
          <ac:spMkLst>
            <pc:docMk/>
            <pc:sldMk cId="4190549596" sldId="773"/>
            <ac:spMk id="31" creationId="{D31BE780-9872-4817-931B-4B6AEDA61436}"/>
          </ac:spMkLst>
        </pc:spChg>
        <pc:spChg chg="mod">
          <ac:chgData name="Hayo Jongejans" userId="1f29305fda79f653" providerId="LiveId" clId="{D05B639D-3F46-4050-B37A-17CBD3440179}" dt="2020-03-25T03:34:36.774" v="252" actId="20577"/>
          <ac:spMkLst>
            <pc:docMk/>
            <pc:sldMk cId="4190549596" sldId="773"/>
            <ac:spMk id="32" creationId="{308F2CD1-4124-4636-8159-02BF065E395F}"/>
          </ac:spMkLst>
        </pc:spChg>
        <pc:spChg chg="add">
          <ac:chgData name="Hayo Jongejans" userId="1f29305fda79f653" providerId="LiveId" clId="{D05B639D-3F46-4050-B37A-17CBD3440179}" dt="2020-03-25T03:35:45.568" v="269"/>
          <ac:spMkLst>
            <pc:docMk/>
            <pc:sldMk cId="4190549596" sldId="773"/>
            <ac:spMk id="34" creationId="{54A9FDA1-9B48-486F-9947-ACE416B31175}"/>
          </ac:spMkLst>
        </pc:spChg>
        <pc:grpChg chg="mod">
          <ac:chgData name="Hayo Jongejans" userId="1f29305fda79f653" providerId="LiveId" clId="{D05B639D-3F46-4050-B37A-17CBD3440179}" dt="2020-03-25T03:30:29.143" v="217"/>
          <ac:grpSpMkLst>
            <pc:docMk/>
            <pc:sldMk cId="4190549596" sldId="773"/>
            <ac:grpSpMk id="3" creationId="{CA488952-D946-4056-8536-118C65DA49B8}"/>
          </ac:grpSpMkLst>
        </pc:grpChg>
        <pc:grpChg chg="mod">
          <ac:chgData name="Hayo Jongejans" userId="1f29305fda79f653" providerId="LiveId" clId="{D05B639D-3F46-4050-B37A-17CBD3440179}" dt="2020-03-25T03:31:59.833" v="226" actId="207"/>
          <ac:grpSpMkLst>
            <pc:docMk/>
            <pc:sldMk cId="4190549596" sldId="773"/>
            <ac:grpSpMk id="4" creationId="{673204D1-EE32-4BC7-B438-158FCE39FF96}"/>
          </ac:grpSpMkLst>
        </pc:grpChg>
        <pc:grpChg chg="mod">
          <ac:chgData name="Hayo Jongejans" userId="1f29305fda79f653" providerId="LiveId" clId="{D05B639D-3F46-4050-B37A-17CBD3440179}" dt="2020-03-25T03:37:48.888" v="295" actId="1035"/>
          <ac:grpSpMkLst>
            <pc:docMk/>
            <pc:sldMk cId="4190549596" sldId="773"/>
            <ac:grpSpMk id="5" creationId="{D87D7D10-69E1-4AE0-8C83-311B90E6A58A}"/>
          </ac:grpSpMkLst>
        </pc:grpChg>
        <pc:grpChg chg="mod">
          <ac:chgData name="Hayo Jongejans" userId="1f29305fda79f653" providerId="LiveId" clId="{D05B639D-3F46-4050-B37A-17CBD3440179}" dt="2020-03-25T03:32:43.087" v="232" actId="207"/>
          <ac:grpSpMkLst>
            <pc:docMk/>
            <pc:sldMk cId="4190549596" sldId="773"/>
            <ac:grpSpMk id="6" creationId="{1C3E893C-2CF5-4D07-A91F-33BFD1B08200}"/>
          </ac:grpSpMkLst>
        </pc:grpChg>
        <pc:grpChg chg="mod">
          <ac:chgData name="Hayo Jongejans" userId="1f29305fda79f653" providerId="LiveId" clId="{D05B639D-3F46-4050-B37A-17CBD3440179}" dt="2020-03-25T03:29:02.307" v="205" actId="207"/>
          <ac:grpSpMkLst>
            <pc:docMk/>
            <pc:sldMk cId="4190549596" sldId="773"/>
            <ac:grpSpMk id="7" creationId="{F4128BCD-3D8F-4FD9-A4CF-2C89F37F589F}"/>
          </ac:grpSpMkLst>
        </pc:grpChg>
        <pc:grpChg chg="mod">
          <ac:chgData name="Hayo Jongejans" userId="1f29305fda79f653" providerId="LiveId" clId="{D05B639D-3F46-4050-B37A-17CBD3440179}" dt="2020-03-25T03:33:24.276" v="237" actId="207"/>
          <ac:grpSpMkLst>
            <pc:docMk/>
            <pc:sldMk cId="4190549596" sldId="773"/>
            <ac:grpSpMk id="23" creationId="{FAC90259-BC02-4673-AE55-DB58B09D1F4D}"/>
          </ac:grpSpMkLst>
        </pc:grpChg>
        <pc:picChg chg="mod">
          <ac:chgData name="Hayo Jongejans" userId="1f29305fda79f653" providerId="LiveId" clId="{D05B639D-3F46-4050-B37A-17CBD3440179}" dt="2020-03-25T03:37:31.641" v="287"/>
          <ac:picMkLst>
            <pc:docMk/>
            <pc:sldMk cId="4190549596" sldId="773"/>
            <ac:picMk id="2" creationId="{8FF1437C-AC89-459D-9C44-2559370080F8}"/>
          </ac:picMkLst>
        </pc:picChg>
        <pc:picChg chg="add del">
          <ac:chgData name="Hayo Jongejans" userId="1f29305fda79f653" providerId="LiveId" clId="{D05B639D-3F46-4050-B37A-17CBD3440179}" dt="2020-03-25T03:35:45.133" v="268" actId="478"/>
          <ac:picMkLst>
            <pc:docMk/>
            <pc:sldMk cId="4190549596" sldId="773"/>
            <ac:picMk id="33" creationId="{B42FE2A2-4E30-48F4-B786-AEAEE505F171}"/>
          </ac:picMkLst>
        </pc:picChg>
        <pc:picChg chg="add">
          <ac:chgData name="Hayo Jongejans" userId="1f29305fda79f653" providerId="LiveId" clId="{D05B639D-3F46-4050-B37A-17CBD3440179}" dt="2020-03-25T03:35:45.568" v="269"/>
          <ac:picMkLst>
            <pc:docMk/>
            <pc:sldMk cId="4190549596" sldId="773"/>
            <ac:picMk id="35" creationId="{5EC8936F-57E8-4AE0-908F-BAC24C51876D}"/>
          </ac:picMkLst>
        </pc:picChg>
      </pc:sldChg>
      <pc:sldChg chg="addSp delSp mod">
        <pc:chgData name="Hayo Jongejans" userId="1f29305fda79f653" providerId="LiveId" clId="{D05B639D-3F46-4050-B37A-17CBD3440179}" dt="2020-03-25T03:35:41.613" v="267"/>
        <pc:sldMkLst>
          <pc:docMk/>
          <pc:sldMk cId="1681167522" sldId="774"/>
        </pc:sldMkLst>
        <pc:spChg chg="add del">
          <ac:chgData name="Hayo Jongejans" userId="1f29305fda79f653" providerId="LiveId" clId="{D05B639D-3F46-4050-B37A-17CBD3440179}" dt="2020-03-25T03:35:41.167" v="266" actId="478"/>
          <ac:spMkLst>
            <pc:docMk/>
            <pc:sldMk cId="1681167522" sldId="774"/>
            <ac:spMk id="24" creationId="{171EC2A9-E57B-4D65-B298-ABC7617C1B8E}"/>
          </ac:spMkLst>
        </pc:spChg>
        <pc:spChg chg="add">
          <ac:chgData name="Hayo Jongejans" userId="1f29305fda79f653" providerId="LiveId" clId="{D05B639D-3F46-4050-B37A-17CBD3440179}" dt="2020-03-25T03:35:41.613" v="267"/>
          <ac:spMkLst>
            <pc:docMk/>
            <pc:sldMk cId="1681167522" sldId="774"/>
            <ac:spMk id="26" creationId="{A42E1B28-C039-48AF-BF8A-DFB68214F43E}"/>
          </ac:spMkLst>
        </pc:spChg>
        <pc:picChg chg="add del">
          <ac:chgData name="Hayo Jongejans" userId="1f29305fda79f653" providerId="LiveId" clId="{D05B639D-3F46-4050-B37A-17CBD3440179}" dt="2020-03-25T03:35:41.167" v="266" actId="478"/>
          <ac:picMkLst>
            <pc:docMk/>
            <pc:sldMk cId="1681167522" sldId="774"/>
            <ac:picMk id="25" creationId="{E42A3001-9996-492F-BA34-3EB0D18546BE}"/>
          </ac:picMkLst>
        </pc:picChg>
        <pc:picChg chg="add">
          <ac:chgData name="Hayo Jongejans" userId="1f29305fda79f653" providerId="LiveId" clId="{D05B639D-3F46-4050-B37A-17CBD3440179}" dt="2020-03-25T03:35:41.613" v="267"/>
          <ac:picMkLst>
            <pc:docMk/>
            <pc:sldMk cId="1681167522" sldId="774"/>
            <ac:picMk id="27" creationId="{91C55A37-CC90-4122-8734-657D09502615}"/>
          </ac:picMkLst>
        </pc:picChg>
      </pc:sldChg>
      <pc:sldChg chg="addSp delSp modSp mod">
        <pc:chgData name="Hayo Jongejans" userId="1f29305fda79f653" providerId="LiveId" clId="{D05B639D-3F46-4050-B37A-17CBD3440179}" dt="2020-03-25T03:35:37.095" v="265"/>
        <pc:sldMkLst>
          <pc:docMk/>
          <pc:sldMk cId="3366919419" sldId="775"/>
        </pc:sldMkLst>
        <pc:spChg chg="mod">
          <ac:chgData name="Hayo Jongejans" userId="1f29305fda79f653" providerId="LiveId" clId="{D05B639D-3F46-4050-B37A-17CBD3440179}" dt="2020-03-25T03:24:59.981" v="81" actId="1035"/>
          <ac:spMkLst>
            <pc:docMk/>
            <pc:sldMk cId="3366919419" sldId="775"/>
            <ac:spMk id="20" creationId="{D497AB65-D9A1-4DC9-82BC-77CDE6FD5E5E}"/>
          </ac:spMkLst>
        </pc:spChg>
        <pc:spChg chg="add del">
          <ac:chgData name="Hayo Jongejans" userId="1f29305fda79f653" providerId="LiveId" clId="{D05B639D-3F46-4050-B37A-17CBD3440179}" dt="2020-03-25T03:35:36.729" v="264" actId="478"/>
          <ac:spMkLst>
            <pc:docMk/>
            <pc:sldMk cId="3366919419" sldId="775"/>
            <ac:spMk id="22" creationId="{B66690AB-2C28-414B-B6C5-B6058F0F68A0}"/>
          </ac:spMkLst>
        </pc:spChg>
        <pc:spChg chg="add">
          <ac:chgData name="Hayo Jongejans" userId="1f29305fda79f653" providerId="LiveId" clId="{D05B639D-3F46-4050-B37A-17CBD3440179}" dt="2020-03-25T03:35:37.095" v="265"/>
          <ac:spMkLst>
            <pc:docMk/>
            <pc:sldMk cId="3366919419" sldId="775"/>
            <ac:spMk id="29" creationId="{BD5EC3A9-FB78-4CA4-A371-3FBE12EADA4A}"/>
          </ac:spMkLst>
        </pc:spChg>
        <pc:picChg chg="add del">
          <ac:chgData name="Hayo Jongejans" userId="1f29305fda79f653" providerId="LiveId" clId="{D05B639D-3F46-4050-B37A-17CBD3440179}" dt="2020-03-25T03:35:36.729" v="264" actId="478"/>
          <ac:picMkLst>
            <pc:docMk/>
            <pc:sldMk cId="3366919419" sldId="775"/>
            <ac:picMk id="23" creationId="{92DA861B-4873-4EA1-9454-F8D4136FAAAC}"/>
          </ac:picMkLst>
        </pc:picChg>
        <pc:picChg chg="add">
          <ac:chgData name="Hayo Jongejans" userId="1f29305fda79f653" providerId="LiveId" clId="{D05B639D-3F46-4050-B37A-17CBD3440179}" dt="2020-03-25T03:35:37.095" v="265"/>
          <ac:picMkLst>
            <pc:docMk/>
            <pc:sldMk cId="3366919419" sldId="775"/>
            <ac:picMk id="30" creationId="{59AA1F00-3104-4E15-B234-774C3B650120}"/>
          </ac:picMkLst>
        </pc:picChg>
      </pc:sldChg>
      <pc:sldChg chg="addSp delSp modSp mod">
        <pc:chgData name="Hayo Jongejans" userId="1f29305fda79f653" providerId="LiveId" clId="{D05B639D-3F46-4050-B37A-17CBD3440179}" dt="2020-03-25T06:02:08.307" v="296"/>
        <pc:sldMkLst>
          <pc:docMk/>
          <pc:sldMk cId="1020933212" sldId="782"/>
        </pc:sldMkLst>
        <pc:spChg chg="del">
          <ac:chgData name="Hayo Jongejans" userId="1f29305fda79f653" providerId="LiveId" clId="{D05B639D-3F46-4050-B37A-17CBD3440179}" dt="2020-03-25T06:02:08.307" v="296"/>
          <ac:spMkLst>
            <pc:docMk/>
            <pc:sldMk cId="1020933212" sldId="782"/>
            <ac:spMk id="2" creationId="{4495A1B8-4CEA-4B0F-BA00-17344C368ECF}"/>
          </ac:spMkLst>
        </pc:spChg>
        <pc:spChg chg="mod">
          <ac:chgData name="Hayo Jongejans" userId="1f29305fda79f653" providerId="LiveId" clId="{D05B639D-3F46-4050-B37A-17CBD3440179}" dt="2020-03-25T03:36:10.658" v="279" actId="1036"/>
          <ac:spMkLst>
            <pc:docMk/>
            <pc:sldMk cId="1020933212" sldId="782"/>
            <ac:spMk id="4" creationId="{D219CE00-2576-493B-9D3C-9ACEB119B943}"/>
          </ac:spMkLst>
        </pc:spChg>
        <pc:spChg chg="mod">
          <ac:chgData name="Hayo Jongejans" userId="1f29305fda79f653" providerId="LiveId" clId="{D05B639D-3F46-4050-B37A-17CBD3440179}" dt="2020-03-25T03:36:10.658" v="279" actId="1036"/>
          <ac:spMkLst>
            <pc:docMk/>
            <pc:sldMk cId="1020933212" sldId="782"/>
            <ac:spMk id="7" creationId="{7BADB1B1-0995-42A3-8F86-C311D7916BCF}"/>
          </ac:spMkLst>
        </pc:spChg>
        <pc:spChg chg="mod">
          <ac:chgData name="Hayo Jongejans" userId="1f29305fda79f653" providerId="LiveId" clId="{D05B639D-3F46-4050-B37A-17CBD3440179}" dt="2020-03-25T03:36:10.658" v="279" actId="1036"/>
          <ac:spMkLst>
            <pc:docMk/>
            <pc:sldMk cId="1020933212" sldId="782"/>
            <ac:spMk id="15" creationId="{B987C054-0761-4AEF-864D-ADFBE3AAB4E5}"/>
          </ac:spMkLst>
        </pc:spChg>
        <pc:spChg chg="mod">
          <ac:chgData name="Hayo Jongejans" userId="1f29305fda79f653" providerId="LiveId" clId="{D05B639D-3F46-4050-B37A-17CBD3440179}" dt="2020-03-25T03:36:10.658" v="279" actId="1036"/>
          <ac:spMkLst>
            <pc:docMk/>
            <pc:sldMk cId="1020933212" sldId="782"/>
            <ac:spMk id="16" creationId="{17AD2769-CA46-45E6-B835-4DDA40B59FD9}"/>
          </ac:spMkLst>
        </pc:spChg>
        <pc:spChg chg="add">
          <ac:chgData name="Hayo Jongejans" userId="1f29305fda79f653" providerId="LiveId" clId="{D05B639D-3F46-4050-B37A-17CBD3440179}" dt="2020-03-25T03:36:02.449" v="272"/>
          <ac:spMkLst>
            <pc:docMk/>
            <pc:sldMk cId="1020933212" sldId="782"/>
            <ac:spMk id="20" creationId="{AFCB4707-068D-4109-BA88-DB152F7124C9}"/>
          </ac:spMkLst>
        </pc:spChg>
        <pc:graphicFrameChg chg="mod">
          <ac:chgData name="Hayo Jongejans" userId="1f29305fda79f653" providerId="LiveId" clId="{D05B639D-3F46-4050-B37A-17CBD3440179}" dt="2020-03-25T03:36:10.658" v="279" actId="1036"/>
          <ac:graphicFrameMkLst>
            <pc:docMk/>
            <pc:sldMk cId="1020933212" sldId="782"/>
            <ac:graphicFrameMk id="18" creationId="{963191DD-0443-4E39-9F4E-06B01DC32EA7}"/>
          </ac:graphicFrameMkLst>
        </pc:graphicFrameChg>
        <pc:picChg chg="del">
          <ac:chgData name="Hayo Jongejans" userId="1f29305fda79f653" providerId="LiveId" clId="{D05B639D-3F46-4050-B37A-17CBD3440179}" dt="2020-03-25T03:26:29.009" v="121" actId="478"/>
          <ac:picMkLst>
            <pc:docMk/>
            <pc:sldMk cId="1020933212" sldId="782"/>
            <ac:picMk id="5" creationId="{E6AEA175-E7BE-441E-851D-1D4D28D7702B}"/>
          </ac:picMkLst>
        </pc:picChg>
        <pc:picChg chg="mod">
          <ac:chgData name="Hayo Jongejans" userId="1f29305fda79f653" providerId="LiveId" clId="{D05B639D-3F46-4050-B37A-17CBD3440179}" dt="2020-03-25T03:36:10.658" v="279" actId="1036"/>
          <ac:picMkLst>
            <pc:docMk/>
            <pc:sldMk cId="1020933212" sldId="782"/>
            <ac:picMk id="6" creationId="{98DC4E2B-CF90-4F73-8E53-BDEAD82B9BDF}"/>
          </ac:picMkLst>
        </pc:picChg>
        <pc:picChg chg="mod">
          <ac:chgData name="Hayo Jongejans" userId="1f29305fda79f653" providerId="LiveId" clId="{D05B639D-3F46-4050-B37A-17CBD3440179}" dt="2020-03-25T03:36:10.658" v="279" actId="1036"/>
          <ac:picMkLst>
            <pc:docMk/>
            <pc:sldMk cId="1020933212" sldId="782"/>
            <ac:picMk id="10" creationId="{26638B6D-1CB9-4E50-83D4-C1645130A7D5}"/>
          </ac:picMkLst>
        </pc:picChg>
        <pc:picChg chg="add">
          <ac:chgData name="Hayo Jongejans" userId="1f29305fda79f653" providerId="LiveId" clId="{D05B639D-3F46-4050-B37A-17CBD3440179}" dt="2020-03-25T03:36:02.449" v="272"/>
          <ac:picMkLst>
            <pc:docMk/>
            <pc:sldMk cId="1020933212" sldId="782"/>
            <ac:picMk id="21" creationId="{80B58F7A-D467-47CA-81BF-1485EB614226}"/>
          </ac:picMkLst>
        </pc:picChg>
      </pc:sldChg>
      <pc:sldChg chg="addSp delSp modSp mod">
        <pc:chgData name="Hayo Jongejans" userId="1f29305fda79f653" providerId="LiveId" clId="{D05B639D-3F46-4050-B37A-17CBD3440179}" dt="2020-03-25T03:36:36.898" v="282" actId="207"/>
        <pc:sldMkLst>
          <pc:docMk/>
          <pc:sldMk cId="3660408251" sldId="789"/>
        </pc:sldMkLst>
        <pc:spChg chg="mod">
          <ac:chgData name="Hayo Jongejans" userId="1f29305fda79f653" providerId="LiveId" clId="{D05B639D-3F46-4050-B37A-17CBD3440179}" dt="2020-03-25T03:26:11.725" v="120" actId="1035"/>
          <ac:spMkLst>
            <pc:docMk/>
            <pc:sldMk cId="3660408251" sldId="789"/>
            <ac:spMk id="30" creationId="{7C1C8291-A7AB-415F-8BAE-611C8C561CAF}"/>
          </ac:spMkLst>
        </pc:spChg>
        <pc:spChg chg="mod">
          <ac:chgData name="Hayo Jongejans" userId="1f29305fda79f653" providerId="LiveId" clId="{D05B639D-3F46-4050-B37A-17CBD3440179}" dt="2020-03-25T03:36:36.898" v="282" actId="207"/>
          <ac:spMkLst>
            <pc:docMk/>
            <pc:sldMk cId="3660408251" sldId="789"/>
            <ac:spMk id="31" creationId="{70E72050-8D7D-486D-BD2C-E02DB56ABA94}"/>
          </ac:spMkLst>
        </pc:spChg>
        <pc:spChg chg="add del">
          <ac:chgData name="Hayo Jongejans" userId="1f29305fda79f653" providerId="LiveId" clId="{D05B639D-3F46-4050-B37A-17CBD3440179}" dt="2020-03-25T03:35:30.864" v="262" actId="478"/>
          <ac:spMkLst>
            <pc:docMk/>
            <pc:sldMk cId="3660408251" sldId="789"/>
            <ac:spMk id="56" creationId="{9E6FF09D-285A-4103-B539-E44EBD714FC3}"/>
          </ac:spMkLst>
        </pc:spChg>
        <pc:spChg chg="add">
          <ac:chgData name="Hayo Jongejans" userId="1f29305fda79f653" providerId="LiveId" clId="{D05B639D-3F46-4050-B37A-17CBD3440179}" dt="2020-03-25T03:35:31.266" v="263"/>
          <ac:spMkLst>
            <pc:docMk/>
            <pc:sldMk cId="3660408251" sldId="789"/>
            <ac:spMk id="58" creationId="{57905302-FE9F-474D-83AC-7AC11C8F12C9}"/>
          </ac:spMkLst>
        </pc:spChg>
        <pc:picChg chg="add del">
          <ac:chgData name="Hayo Jongejans" userId="1f29305fda79f653" providerId="LiveId" clId="{D05B639D-3F46-4050-B37A-17CBD3440179}" dt="2020-03-25T03:35:30.864" v="262" actId="478"/>
          <ac:picMkLst>
            <pc:docMk/>
            <pc:sldMk cId="3660408251" sldId="789"/>
            <ac:picMk id="57" creationId="{5673A5F4-78FA-42D1-8D23-0A373D910B32}"/>
          </ac:picMkLst>
        </pc:picChg>
        <pc:picChg chg="add">
          <ac:chgData name="Hayo Jongejans" userId="1f29305fda79f653" providerId="LiveId" clId="{D05B639D-3F46-4050-B37A-17CBD3440179}" dt="2020-03-25T03:35:31.266" v="263"/>
          <ac:picMkLst>
            <pc:docMk/>
            <pc:sldMk cId="3660408251" sldId="789"/>
            <ac:picMk id="59" creationId="{78FEF834-7AB7-4A4F-AB67-498A2BF59872}"/>
          </ac:picMkLst>
        </pc:picChg>
      </pc:sldChg>
      <pc:sldChg chg="addSp delSp modSp mod">
        <pc:chgData name="Hayo Jongejans" userId="1f29305fda79f653" providerId="LiveId" clId="{D05B639D-3F46-4050-B37A-17CBD3440179}" dt="2020-03-25T03:27:28.831" v="172" actId="478"/>
        <pc:sldMkLst>
          <pc:docMk/>
          <pc:sldMk cId="2875296855" sldId="790"/>
        </pc:sldMkLst>
        <pc:spChg chg="mod">
          <ac:chgData name="Hayo Jongejans" userId="1f29305fda79f653" providerId="LiveId" clId="{D05B639D-3F46-4050-B37A-17CBD3440179}" dt="2020-03-25T03:26:41.787" v="152" actId="20577"/>
          <ac:spMkLst>
            <pc:docMk/>
            <pc:sldMk cId="2875296855" sldId="790"/>
            <ac:spMk id="4" creationId="{B0C40075-9DFE-49E6-A8B0-C1C582E290E8}"/>
          </ac:spMkLst>
        </pc:spChg>
        <pc:spChg chg="mod">
          <ac:chgData name="Hayo Jongejans" userId="1f29305fda79f653" providerId="LiveId" clId="{D05B639D-3F46-4050-B37A-17CBD3440179}" dt="2020-03-25T03:26:48.405" v="162" actId="20577"/>
          <ac:spMkLst>
            <pc:docMk/>
            <pc:sldMk cId="2875296855" sldId="790"/>
            <ac:spMk id="5" creationId="{CF289149-AD08-4580-85A1-02DC88241D77}"/>
          </ac:spMkLst>
        </pc:spChg>
        <pc:spChg chg="add del">
          <ac:chgData name="Hayo Jongejans" userId="1f29305fda79f653" providerId="LiveId" clId="{D05B639D-3F46-4050-B37A-17CBD3440179}" dt="2020-03-25T03:27:28.831" v="172" actId="478"/>
          <ac:spMkLst>
            <pc:docMk/>
            <pc:sldMk cId="2875296855" sldId="790"/>
            <ac:spMk id="6" creationId="{CAF93340-6321-4AAE-AC51-3A291AF455D7}"/>
          </ac:spMkLst>
        </pc:spChg>
        <pc:picChg chg="add del mod">
          <ac:chgData name="Hayo Jongejans" userId="1f29305fda79f653" providerId="LiveId" clId="{D05B639D-3F46-4050-B37A-17CBD3440179}" dt="2020-03-25T03:27:28.831" v="172" actId="478"/>
          <ac:picMkLst>
            <pc:docMk/>
            <pc:sldMk cId="2875296855" sldId="790"/>
            <ac:picMk id="7" creationId="{F477EEFA-2C3A-44DE-AF48-325E3A5FC045}"/>
          </ac:picMkLst>
        </pc:picChg>
      </pc:sldChg>
      <pc:sldChg chg="addSp delSp mod">
        <pc:chgData name="Hayo Jongejans" userId="1f29305fda79f653" providerId="LiveId" clId="{D05B639D-3F46-4050-B37A-17CBD3440179}" dt="2020-03-25T03:35:56.766" v="271"/>
        <pc:sldMkLst>
          <pc:docMk/>
          <pc:sldMk cId="2551605425" sldId="792"/>
        </pc:sldMkLst>
        <pc:spChg chg="del">
          <ac:chgData name="Hayo Jongejans" userId="1f29305fda79f653" providerId="LiveId" clId="{D05B639D-3F46-4050-B37A-17CBD3440179}" dt="2020-03-25T03:35:56.465" v="270" actId="478"/>
          <ac:spMkLst>
            <pc:docMk/>
            <pc:sldMk cId="2551605425" sldId="792"/>
            <ac:spMk id="16" creationId="{0024660F-3407-459D-8040-B53C9B9BAD6D}"/>
          </ac:spMkLst>
        </pc:spChg>
        <pc:spChg chg="add">
          <ac:chgData name="Hayo Jongejans" userId="1f29305fda79f653" providerId="LiveId" clId="{D05B639D-3F46-4050-B37A-17CBD3440179}" dt="2020-03-25T03:35:56.766" v="271"/>
          <ac:spMkLst>
            <pc:docMk/>
            <pc:sldMk cId="2551605425" sldId="792"/>
            <ac:spMk id="18" creationId="{B2860CAF-839D-4672-A691-D02DC53B264F}"/>
          </ac:spMkLst>
        </pc:spChg>
        <pc:picChg chg="del">
          <ac:chgData name="Hayo Jongejans" userId="1f29305fda79f653" providerId="LiveId" clId="{D05B639D-3F46-4050-B37A-17CBD3440179}" dt="2020-03-25T03:35:56.465" v="270" actId="478"/>
          <ac:picMkLst>
            <pc:docMk/>
            <pc:sldMk cId="2551605425" sldId="792"/>
            <ac:picMk id="17" creationId="{3526C1CC-A238-4AB7-AEB0-28A8AA9BFB80}"/>
          </ac:picMkLst>
        </pc:picChg>
        <pc:picChg chg="add">
          <ac:chgData name="Hayo Jongejans" userId="1f29305fda79f653" providerId="LiveId" clId="{D05B639D-3F46-4050-B37A-17CBD3440179}" dt="2020-03-25T03:35:56.766" v="271"/>
          <ac:picMkLst>
            <pc:docMk/>
            <pc:sldMk cId="2551605425" sldId="792"/>
            <ac:picMk id="19" creationId="{59250664-AD7C-4AC0-8509-7024D3658478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4163D8-0E69-44E4-85A8-B712B624FB09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</dgm:pt>
    <dgm:pt modelId="{BFE9B549-8400-41B5-8C0F-2D64EDA5FF0B}">
      <dgm:prSet phldrT="[Text]"/>
      <dgm:spPr>
        <a:solidFill>
          <a:schemeClr val="accent2"/>
        </a:solidFill>
      </dgm:spPr>
      <dgm:t>
        <a:bodyPr/>
        <a:lstStyle/>
        <a:p>
          <a:r>
            <a:rPr lang="en-AU" dirty="0">
              <a:solidFill>
                <a:schemeClr val="bg1">
                  <a:lumMod val="95000"/>
                </a:schemeClr>
              </a:solidFill>
            </a:rPr>
            <a:t>What did I learn?</a:t>
          </a:r>
        </a:p>
      </dgm:t>
    </dgm:pt>
    <dgm:pt modelId="{4FBC409E-D73E-4FDA-B430-F11F88DAA0CA}" type="parTrans" cxnId="{BE1CAE3B-B6B2-463C-8D2D-62B6E6EBD7F8}">
      <dgm:prSet/>
      <dgm:spPr/>
      <dgm:t>
        <a:bodyPr/>
        <a:lstStyle/>
        <a:p>
          <a:endParaRPr lang="en-AU">
            <a:solidFill>
              <a:schemeClr val="bg1">
                <a:lumMod val="95000"/>
              </a:schemeClr>
            </a:solidFill>
          </a:endParaRPr>
        </a:p>
      </dgm:t>
    </dgm:pt>
    <dgm:pt modelId="{AD6F3317-966B-4CA2-B683-72CCF9DE4CA5}" type="sibTrans" cxnId="{BE1CAE3B-B6B2-463C-8D2D-62B6E6EBD7F8}">
      <dgm:prSet/>
      <dgm:spPr/>
      <dgm:t>
        <a:bodyPr/>
        <a:lstStyle/>
        <a:p>
          <a:endParaRPr lang="en-AU">
            <a:solidFill>
              <a:schemeClr val="bg1">
                <a:lumMod val="95000"/>
              </a:schemeClr>
            </a:solidFill>
          </a:endParaRPr>
        </a:p>
      </dgm:t>
    </dgm:pt>
    <dgm:pt modelId="{BF606AB4-F517-48FE-98E8-FFBEED9C2A85}">
      <dgm:prSet phldrT="[Text]"/>
      <dgm:spPr>
        <a:solidFill>
          <a:schemeClr val="accent2"/>
        </a:solidFill>
      </dgm:spPr>
      <dgm:t>
        <a:bodyPr/>
        <a:lstStyle/>
        <a:p>
          <a:r>
            <a:rPr lang="en-AU" dirty="0">
              <a:solidFill>
                <a:schemeClr val="bg1">
                  <a:lumMod val="95000"/>
                </a:schemeClr>
              </a:solidFill>
            </a:rPr>
            <a:t>What did I teach?</a:t>
          </a:r>
        </a:p>
      </dgm:t>
    </dgm:pt>
    <dgm:pt modelId="{FB37CD3D-351C-4577-A578-48E4262891D5}" type="parTrans" cxnId="{244A85B6-E67F-4D2C-B18A-B3BE51C00D4C}">
      <dgm:prSet/>
      <dgm:spPr/>
      <dgm:t>
        <a:bodyPr/>
        <a:lstStyle/>
        <a:p>
          <a:endParaRPr lang="en-AU">
            <a:solidFill>
              <a:schemeClr val="bg1">
                <a:lumMod val="95000"/>
              </a:schemeClr>
            </a:solidFill>
          </a:endParaRPr>
        </a:p>
      </dgm:t>
    </dgm:pt>
    <dgm:pt modelId="{A94462CB-BC36-4229-80E7-553AE38BF89C}" type="sibTrans" cxnId="{244A85B6-E67F-4D2C-B18A-B3BE51C00D4C}">
      <dgm:prSet/>
      <dgm:spPr/>
      <dgm:t>
        <a:bodyPr/>
        <a:lstStyle/>
        <a:p>
          <a:endParaRPr lang="en-AU">
            <a:solidFill>
              <a:schemeClr val="bg1">
                <a:lumMod val="95000"/>
              </a:schemeClr>
            </a:solidFill>
          </a:endParaRPr>
        </a:p>
      </dgm:t>
    </dgm:pt>
    <dgm:pt modelId="{866BBD2F-E97A-4CB8-8788-999B41EE88E8}">
      <dgm:prSet phldrT="[Text]"/>
      <dgm:spPr>
        <a:solidFill>
          <a:schemeClr val="accent2"/>
        </a:solidFill>
      </dgm:spPr>
      <dgm:t>
        <a:bodyPr/>
        <a:lstStyle/>
        <a:p>
          <a:r>
            <a:rPr lang="en-AU" dirty="0">
              <a:solidFill>
                <a:schemeClr val="bg1">
                  <a:lumMod val="95000"/>
                </a:schemeClr>
              </a:solidFill>
            </a:rPr>
            <a:t>What did I improve?</a:t>
          </a:r>
        </a:p>
      </dgm:t>
    </dgm:pt>
    <dgm:pt modelId="{3694918F-FF27-4095-8A1E-AC60DFA39214}" type="parTrans" cxnId="{FDFC85D5-0037-471A-AE39-D4502EE3493F}">
      <dgm:prSet/>
      <dgm:spPr/>
      <dgm:t>
        <a:bodyPr/>
        <a:lstStyle/>
        <a:p>
          <a:endParaRPr lang="en-AU">
            <a:solidFill>
              <a:schemeClr val="bg1">
                <a:lumMod val="95000"/>
              </a:schemeClr>
            </a:solidFill>
          </a:endParaRPr>
        </a:p>
      </dgm:t>
    </dgm:pt>
    <dgm:pt modelId="{B982DD47-DE6F-4040-BB78-63F3FDF805BB}" type="sibTrans" cxnId="{FDFC85D5-0037-471A-AE39-D4502EE3493F}">
      <dgm:prSet/>
      <dgm:spPr/>
      <dgm:t>
        <a:bodyPr/>
        <a:lstStyle/>
        <a:p>
          <a:endParaRPr lang="en-AU">
            <a:solidFill>
              <a:schemeClr val="bg1">
                <a:lumMod val="95000"/>
              </a:schemeClr>
            </a:solidFill>
          </a:endParaRPr>
        </a:p>
      </dgm:t>
    </dgm:pt>
    <dgm:pt modelId="{0A09A94D-0944-4C34-BFD4-25F1788E884D}" type="pres">
      <dgm:prSet presAssocID="{7F4163D8-0E69-44E4-85A8-B712B624FB09}" presName="Name0" presStyleCnt="0">
        <dgm:presLayoutVars>
          <dgm:dir/>
          <dgm:animLvl val="lvl"/>
          <dgm:resizeHandles val="exact"/>
        </dgm:presLayoutVars>
      </dgm:prSet>
      <dgm:spPr/>
    </dgm:pt>
    <dgm:pt modelId="{65A6713D-5AE0-44DF-AB33-9CFBF806A387}" type="pres">
      <dgm:prSet presAssocID="{BFE9B549-8400-41B5-8C0F-2D64EDA5FF0B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ED2EE10F-834B-4493-A6ED-E75149FD8AB5}" type="pres">
      <dgm:prSet presAssocID="{AD6F3317-966B-4CA2-B683-72CCF9DE4CA5}" presName="parTxOnlySpace" presStyleCnt="0"/>
      <dgm:spPr/>
    </dgm:pt>
    <dgm:pt modelId="{1514B818-71F3-4A1A-8470-23F6E75DF9A5}" type="pres">
      <dgm:prSet presAssocID="{BF606AB4-F517-48FE-98E8-FFBEED9C2A85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C4FA7AFE-11B5-45FA-9D06-A672E22C0477}" type="pres">
      <dgm:prSet presAssocID="{A94462CB-BC36-4229-80E7-553AE38BF89C}" presName="parTxOnlySpace" presStyleCnt="0"/>
      <dgm:spPr/>
    </dgm:pt>
    <dgm:pt modelId="{108E60CF-E973-450A-8F03-37D6D31F0EB6}" type="pres">
      <dgm:prSet presAssocID="{866BBD2F-E97A-4CB8-8788-999B41EE88E8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C9379600-0451-44E9-98A8-FE1D20FF5714}" type="presOf" srcId="{7F4163D8-0E69-44E4-85A8-B712B624FB09}" destId="{0A09A94D-0944-4C34-BFD4-25F1788E884D}" srcOrd="0" destOrd="0" presId="urn:microsoft.com/office/officeart/2005/8/layout/chevron1"/>
    <dgm:cxn modelId="{BE1CAE3B-B6B2-463C-8D2D-62B6E6EBD7F8}" srcId="{7F4163D8-0E69-44E4-85A8-B712B624FB09}" destId="{BFE9B549-8400-41B5-8C0F-2D64EDA5FF0B}" srcOrd="0" destOrd="0" parTransId="{4FBC409E-D73E-4FDA-B430-F11F88DAA0CA}" sibTransId="{AD6F3317-966B-4CA2-B683-72CCF9DE4CA5}"/>
    <dgm:cxn modelId="{002D2E8B-DF46-4305-9F82-F281148B7F5A}" type="presOf" srcId="{BF606AB4-F517-48FE-98E8-FFBEED9C2A85}" destId="{1514B818-71F3-4A1A-8470-23F6E75DF9A5}" srcOrd="0" destOrd="0" presId="urn:microsoft.com/office/officeart/2005/8/layout/chevron1"/>
    <dgm:cxn modelId="{E46C3492-A33F-43CC-BC5C-346B71B74E42}" type="presOf" srcId="{866BBD2F-E97A-4CB8-8788-999B41EE88E8}" destId="{108E60CF-E973-450A-8F03-37D6D31F0EB6}" srcOrd="0" destOrd="0" presId="urn:microsoft.com/office/officeart/2005/8/layout/chevron1"/>
    <dgm:cxn modelId="{F73115B3-3340-4182-BD8B-4D8C1378E55B}" type="presOf" srcId="{BFE9B549-8400-41B5-8C0F-2D64EDA5FF0B}" destId="{65A6713D-5AE0-44DF-AB33-9CFBF806A387}" srcOrd="0" destOrd="0" presId="urn:microsoft.com/office/officeart/2005/8/layout/chevron1"/>
    <dgm:cxn modelId="{244A85B6-E67F-4D2C-B18A-B3BE51C00D4C}" srcId="{7F4163D8-0E69-44E4-85A8-B712B624FB09}" destId="{BF606AB4-F517-48FE-98E8-FFBEED9C2A85}" srcOrd="1" destOrd="0" parTransId="{FB37CD3D-351C-4577-A578-48E4262891D5}" sibTransId="{A94462CB-BC36-4229-80E7-553AE38BF89C}"/>
    <dgm:cxn modelId="{FDFC85D5-0037-471A-AE39-D4502EE3493F}" srcId="{7F4163D8-0E69-44E4-85A8-B712B624FB09}" destId="{866BBD2F-E97A-4CB8-8788-999B41EE88E8}" srcOrd="2" destOrd="0" parTransId="{3694918F-FF27-4095-8A1E-AC60DFA39214}" sibTransId="{B982DD47-DE6F-4040-BB78-63F3FDF805BB}"/>
    <dgm:cxn modelId="{A42BE730-207D-48F8-9458-6BCB30077745}" type="presParOf" srcId="{0A09A94D-0944-4C34-BFD4-25F1788E884D}" destId="{65A6713D-5AE0-44DF-AB33-9CFBF806A387}" srcOrd="0" destOrd="0" presId="urn:microsoft.com/office/officeart/2005/8/layout/chevron1"/>
    <dgm:cxn modelId="{1078C5CC-9BFF-47BA-9DBE-BE1C68300046}" type="presParOf" srcId="{0A09A94D-0944-4C34-BFD4-25F1788E884D}" destId="{ED2EE10F-834B-4493-A6ED-E75149FD8AB5}" srcOrd="1" destOrd="0" presId="urn:microsoft.com/office/officeart/2005/8/layout/chevron1"/>
    <dgm:cxn modelId="{F20D7EEB-356E-46FA-B37D-C4A066C68206}" type="presParOf" srcId="{0A09A94D-0944-4C34-BFD4-25F1788E884D}" destId="{1514B818-71F3-4A1A-8470-23F6E75DF9A5}" srcOrd="2" destOrd="0" presId="urn:microsoft.com/office/officeart/2005/8/layout/chevron1"/>
    <dgm:cxn modelId="{FF7D23B9-65AE-4E54-BC45-78B38812120A}" type="presParOf" srcId="{0A09A94D-0944-4C34-BFD4-25F1788E884D}" destId="{C4FA7AFE-11B5-45FA-9D06-A672E22C0477}" srcOrd="3" destOrd="0" presId="urn:microsoft.com/office/officeart/2005/8/layout/chevron1"/>
    <dgm:cxn modelId="{DB763B16-7CCF-4579-84F6-3B085DD1AF75}" type="presParOf" srcId="{0A09A94D-0944-4C34-BFD4-25F1788E884D}" destId="{108E60CF-E973-450A-8F03-37D6D31F0EB6}" srcOrd="4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A6713D-5AE0-44DF-AB33-9CFBF806A387}">
      <dsp:nvSpPr>
        <dsp:cNvPr id="0" name=""/>
        <dsp:cNvSpPr/>
      </dsp:nvSpPr>
      <dsp:spPr>
        <a:xfrm>
          <a:off x="1574" y="2325765"/>
          <a:ext cx="1917839" cy="767135"/>
        </a:xfrm>
        <a:prstGeom prst="chevron">
          <a:avLst/>
        </a:prstGeom>
        <a:solidFill>
          <a:schemeClr val="accent2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solidFill>
                <a:schemeClr val="bg1">
                  <a:lumMod val="95000"/>
                </a:schemeClr>
              </a:solidFill>
            </a:rPr>
            <a:t>What did I learn?</a:t>
          </a:r>
        </a:p>
      </dsp:txBody>
      <dsp:txXfrm>
        <a:off x="385142" y="2325765"/>
        <a:ext cx="1150704" cy="767135"/>
      </dsp:txXfrm>
    </dsp:sp>
    <dsp:sp modelId="{1514B818-71F3-4A1A-8470-23F6E75DF9A5}">
      <dsp:nvSpPr>
        <dsp:cNvPr id="0" name=""/>
        <dsp:cNvSpPr/>
      </dsp:nvSpPr>
      <dsp:spPr>
        <a:xfrm>
          <a:off x="1727630" y="2325765"/>
          <a:ext cx="1917839" cy="767135"/>
        </a:xfrm>
        <a:prstGeom prst="chevron">
          <a:avLst/>
        </a:prstGeom>
        <a:solidFill>
          <a:schemeClr val="accent2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solidFill>
                <a:schemeClr val="bg1">
                  <a:lumMod val="95000"/>
                </a:schemeClr>
              </a:solidFill>
            </a:rPr>
            <a:t>What did I teach?</a:t>
          </a:r>
        </a:p>
      </dsp:txBody>
      <dsp:txXfrm>
        <a:off x="2111198" y="2325765"/>
        <a:ext cx="1150704" cy="767135"/>
      </dsp:txXfrm>
    </dsp:sp>
    <dsp:sp modelId="{108E60CF-E973-450A-8F03-37D6D31F0EB6}">
      <dsp:nvSpPr>
        <dsp:cNvPr id="0" name=""/>
        <dsp:cNvSpPr/>
      </dsp:nvSpPr>
      <dsp:spPr>
        <a:xfrm>
          <a:off x="3453685" y="2325765"/>
          <a:ext cx="1917839" cy="767135"/>
        </a:xfrm>
        <a:prstGeom prst="chevron">
          <a:avLst/>
        </a:prstGeom>
        <a:solidFill>
          <a:schemeClr val="accent2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solidFill>
                <a:schemeClr val="bg1">
                  <a:lumMod val="95000"/>
                </a:schemeClr>
              </a:solidFill>
            </a:rPr>
            <a:t>What did I improve?</a:t>
          </a:r>
        </a:p>
      </dsp:txBody>
      <dsp:txXfrm>
        <a:off x="3837253" y="2325765"/>
        <a:ext cx="1150704" cy="7671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38B268-69EE-4FE1-B2E7-4C5BED615635}" type="datetimeFigureOut">
              <a:rPr lang="en-AU" smtClean="0"/>
              <a:t>25/03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30C4A5-3F68-43BC-BBFC-032EE1ABCEB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154738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2338FD-09D5-4E5F-A48F-9375C1B3BDA0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02764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4211C9AD-36A8-46D9-B9B7-8C1D3684F8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6097" y="0"/>
            <a:ext cx="12192001" cy="685799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00">
                <a:noFill/>
              </a:defRPr>
            </a:lvl1pPr>
            <a:lvl2pPr marL="0" indent="0">
              <a:buFont typeface="Arial" panose="020B0604020202020204" pitchFamily="34" charset="0"/>
              <a:buNone/>
              <a:defRPr sz="400">
                <a:noFill/>
              </a:defRPr>
            </a:lvl2pPr>
            <a:lvl3pPr marL="0" indent="0">
              <a:buFont typeface="Arial" panose="020B0604020202020204" pitchFamily="34" charset="0"/>
              <a:buNone/>
              <a:defRPr sz="400">
                <a:noFill/>
              </a:defRPr>
            </a:lvl3pPr>
            <a:lvl4pPr marL="0" indent="0">
              <a:buFont typeface="Arial" panose="020B0604020202020204" pitchFamily="34" charset="0"/>
              <a:buNone/>
              <a:defRPr sz="400">
                <a:noFill/>
              </a:defRPr>
            </a:lvl4pPr>
            <a:lvl5pPr marL="0" indent="0">
              <a:buFont typeface="Arial" panose="020B0604020202020204" pitchFamily="34" charset="0"/>
              <a:buNone/>
              <a:defRPr sz="400">
                <a:noFill/>
              </a:defRPr>
            </a:lvl5pPr>
            <a:lvl6pPr marL="0" indent="0">
              <a:buFont typeface="Arial" panose="020B0604020202020204" pitchFamily="34" charset="0"/>
              <a:buNone/>
              <a:defRPr sz="400">
                <a:noFill/>
              </a:defRPr>
            </a:lvl6pPr>
            <a:lvl7pPr marL="0" indent="0">
              <a:buFont typeface="Arial" panose="020B0604020202020204" pitchFamily="34" charset="0"/>
              <a:buNone/>
              <a:defRPr sz="400">
                <a:noFill/>
              </a:defRPr>
            </a:lvl7pPr>
            <a:lvl8pPr marL="0" indent="0">
              <a:buFont typeface="Arial" panose="020B0604020202020204" pitchFamily="34" charset="0"/>
              <a:buNone/>
              <a:defRPr sz="400">
                <a:noFill/>
              </a:defRPr>
            </a:lvl8pPr>
            <a:lvl9pPr marL="0" indent="0">
              <a:buFont typeface="Arial" panose="020B0604020202020204" pitchFamily="34" charset="0"/>
              <a:buNone/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9114328-3CF6-431C-8B84-13CD5C404C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04872" y="1161733"/>
            <a:ext cx="7370064" cy="768350"/>
          </a:xfrm>
          <a:prstGeom prst="rect">
            <a:avLst/>
          </a:prstGeom>
        </p:spPr>
        <p:txBody>
          <a:bodyPr anchor="ctr"/>
          <a:lstStyle>
            <a:lvl1pPr algn="ctr">
              <a:defRPr sz="3200"/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7" name="Marcador de texto 5">
            <a:extLst>
              <a:ext uri="{FF2B5EF4-FFF2-40B4-BE49-F238E27FC236}">
                <a16:creationId xmlns:a16="http://schemas.microsoft.com/office/drawing/2014/main" id="{405FCF0C-E9B4-4879-A17F-944B3182947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04872" y="1957515"/>
            <a:ext cx="7370064" cy="76835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AU" noProof="0" dirty="0"/>
              <a:t>Subtitle</a:t>
            </a:r>
          </a:p>
        </p:txBody>
      </p:sp>
      <p:sp>
        <p:nvSpPr>
          <p:cNvPr id="9" name="Marcador de texto 5">
            <a:extLst>
              <a:ext uri="{FF2B5EF4-FFF2-40B4-BE49-F238E27FC236}">
                <a16:creationId xmlns:a16="http://schemas.microsoft.com/office/drawing/2014/main" id="{811522DD-8859-4C8D-8215-265AA47F73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8323" y="2744419"/>
            <a:ext cx="2583162" cy="347397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AU" noProof="0" dirty="0"/>
              <a:t>Date</a:t>
            </a:r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ACBF38F1-5FED-418E-B620-690FD67079EC}"/>
              </a:ext>
            </a:extLst>
          </p:cNvPr>
          <p:cNvSpPr txBox="1">
            <a:spLocks/>
          </p:cNvSpPr>
          <p:nvPr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3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44C1DD5E-5E99-4743-9CCB-35B4F2F5EB4C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264136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-Simp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0626F17-66B9-4C36-BA93-F9500ABA8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B0A9C844-94DE-48FE-8585-8301FAD58F3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962"/>
          <a:stretch/>
        </p:blipFill>
        <p:spPr>
          <a:xfrm>
            <a:off x="0" y="4447"/>
            <a:ext cx="12192000" cy="6440742"/>
          </a:xfrm>
          <a:prstGeom prst="rect">
            <a:avLst/>
          </a:prstGeom>
        </p:spPr>
      </p:pic>
      <p:sp>
        <p:nvSpPr>
          <p:cNvPr id="5" name="TextBox 11">
            <a:extLst>
              <a:ext uri="{FF2B5EF4-FFF2-40B4-BE49-F238E27FC236}">
                <a16:creationId xmlns:a16="http://schemas.microsoft.com/office/drawing/2014/main" id="{F2EAFF3C-A44F-43CF-824A-BAFBFB87A93A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27363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-Complex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6">
            <a:extLst>
              <a:ext uri="{FF2B5EF4-FFF2-40B4-BE49-F238E27FC236}">
                <a16:creationId xmlns:a16="http://schemas.microsoft.com/office/drawing/2014/main" id="{664E4995-D0A4-4567-9631-BA9FDEB0641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5760"/>
          <a:stretch/>
        </p:blipFill>
        <p:spPr>
          <a:xfrm>
            <a:off x="2545" y="0"/>
            <a:ext cx="12186913" cy="6462944"/>
          </a:xfrm>
          <a:prstGeom prst="rect">
            <a:avLst/>
          </a:prstGeom>
        </p:spPr>
      </p:pic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0626F17-66B9-4C36-BA93-F9500ABA8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E7A8DE98-D7BF-467E-9946-8B95317A05C6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680593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-Simp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>
            <a:extLst>
              <a:ext uri="{FF2B5EF4-FFF2-40B4-BE49-F238E27FC236}">
                <a16:creationId xmlns:a16="http://schemas.microsoft.com/office/drawing/2014/main" id="{E2462102-B6B0-4ED5-BA35-06E05EB27C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200"/>
          <a:stretch/>
        </p:blipFill>
        <p:spPr>
          <a:xfrm>
            <a:off x="0" y="6160"/>
            <a:ext cx="12192000" cy="6421273"/>
          </a:xfrm>
          <a:prstGeom prst="rect">
            <a:avLst/>
          </a:prstGeom>
        </p:spPr>
      </p:pic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0626F17-66B9-4C36-BA93-F9500ABA8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DF298F39-7772-4415-8304-EDC11AF453EF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860811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-Complex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0626F17-66B9-4C36-BA93-F9500ABA8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FA287C88-B2C3-40D3-98FA-7101F3739E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160"/>
            <a:ext cx="12192000" cy="6845683"/>
          </a:xfrm>
          <a:prstGeom prst="rect">
            <a:avLst/>
          </a:prstGeom>
        </p:spPr>
      </p:pic>
      <p:sp>
        <p:nvSpPr>
          <p:cNvPr id="5" name="TextBox 11">
            <a:extLst>
              <a:ext uri="{FF2B5EF4-FFF2-40B4-BE49-F238E27FC236}">
                <a16:creationId xmlns:a16="http://schemas.microsoft.com/office/drawing/2014/main" id="{2545C2D9-2D6F-4CBF-87DC-4187D801AABF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789501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325F6E90-0FD9-4124-8A87-709B225F5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9C353B79-FE02-42F4-93BB-6BDCF2EBA45D}"/>
              </a:ext>
            </a:extLst>
          </p:cNvPr>
          <p:cNvSpPr txBox="1">
            <a:spLocks/>
          </p:cNvSpPr>
          <p:nvPr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DD3D1DD9-44EA-49AC-89EE-D772B1401349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38735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ECFB2E6-6A39-4B27-AFED-5EF9D10D649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6F86F96-B341-4496-8AD6-50F70341D6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506C2F91-8FBE-4580-80B4-9ED36D568F34}"/>
              </a:ext>
            </a:extLst>
          </p:cNvPr>
          <p:cNvSpPr txBox="1">
            <a:spLocks/>
          </p:cNvSpPr>
          <p:nvPr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C413B2B6-24BA-411A-9ED1-1B8ADAF3DBF7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500749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4251B8-AC56-4997-A516-C8D27BEFF4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84B6774-96AB-41D8-940D-09ED457C8D27}"/>
              </a:ext>
            </a:extLst>
          </p:cNvPr>
          <p:cNvSpPr txBox="1">
            <a:spLocks/>
          </p:cNvSpPr>
          <p:nvPr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8" name="Marcador de número de diapositiva 2">
            <a:extLst>
              <a:ext uri="{FF2B5EF4-FFF2-40B4-BE49-F238E27FC236}">
                <a16:creationId xmlns:a16="http://schemas.microsoft.com/office/drawing/2014/main" id="{A1DE5543-7217-4DDA-B038-4117397301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76482" y="6537960"/>
            <a:ext cx="512647" cy="135026"/>
          </a:xfrm>
        </p:spPr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3773FD94-C77C-4032-BB03-3538112DAD06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908347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C4B853A-6ACC-410B-AF03-E2AFF2A6DB8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2D49B4B2-0BA8-4CAA-9704-F2AF66419CC6}"/>
              </a:ext>
            </a:extLst>
          </p:cNvPr>
          <p:cNvSpPr txBox="1">
            <a:spLocks/>
          </p:cNvSpPr>
          <p:nvPr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9" name="Marcador de número de diapositiva 2">
            <a:extLst>
              <a:ext uri="{FF2B5EF4-FFF2-40B4-BE49-F238E27FC236}">
                <a16:creationId xmlns:a16="http://schemas.microsoft.com/office/drawing/2014/main" id="{B5B0B08F-AC86-437B-95B7-98D1E9AC98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76482" y="6537960"/>
            <a:ext cx="512647" cy="135026"/>
          </a:xfrm>
        </p:spPr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A8CF85FF-FF4A-47D5-BA20-F2C05DDA4D4A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519443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C4B853A-6ACC-410B-AF03-E2AFF2A6DB8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51437B06-850B-4E1A-9374-7059C3B7F526}"/>
              </a:ext>
            </a:extLst>
          </p:cNvPr>
          <p:cNvSpPr txBox="1">
            <a:spLocks/>
          </p:cNvSpPr>
          <p:nvPr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9" name="Marcador de número de diapositiva 2">
            <a:extLst>
              <a:ext uri="{FF2B5EF4-FFF2-40B4-BE49-F238E27FC236}">
                <a16:creationId xmlns:a16="http://schemas.microsoft.com/office/drawing/2014/main" id="{46E3C9B4-A8E4-4AE1-8F69-2E14E843614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76482" y="6537960"/>
            <a:ext cx="512647" cy="135026"/>
          </a:xfrm>
        </p:spPr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3663C168-19B0-4F3E-A727-D9695CBFCC9E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241973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F7267C9-456F-487B-AF10-F923B326260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C49D026-F6D0-4D4A-AB3A-DE09CB3F8D71}"/>
              </a:ext>
            </a:extLst>
          </p:cNvPr>
          <p:cNvSpPr txBox="1">
            <a:spLocks/>
          </p:cNvSpPr>
          <p:nvPr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9" name="Marcador de número de diapositiva 2">
            <a:extLst>
              <a:ext uri="{FF2B5EF4-FFF2-40B4-BE49-F238E27FC236}">
                <a16:creationId xmlns:a16="http://schemas.microsoft.com/office/drawing/2014/main" id="{D9D73AD5-BB77-44EB-905D-76D2F1F10C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76482" y="6537960"/>
            <a:ext cx="512647" cy="135026"/>
          </a:xfrm>
        </p:spPr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CA8B7E84-ACD6-4729-9BBB-4D5AF51E9F4B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92422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2">
            <a:extLst>
              <a:ext uri="{FF2B5EF4-FFF2-40B4-BE49-F238E27FC236}">
                <a16:creationId xmlns:a16="http://schemas.microsoft.com/office/drawing/2014/main" id="{4B5C8411-729F-400F-AF7A-312118C40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412" y="447252"/>
            <a:ext cx="9825361" cy="342863"/>
          </a:xfrm>
          <a:prstGeom prst="rect">
            <a:avLst/>
          </a:prstGeom>
        </p:spPr>
        <p:txBody>
          <a:bodyPr lIns="0"/>
          <a:lstStyle>
            <a:lvl1pPr>
              <a:defRPr/>
            </a:lvl1pPr>
          </a:lstStyle>
          <a:p>
            <a:r>
              <a:rPr lang="es-ES" dirty="0" err="1"/>
              <a:t>Index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n-AU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3E495203-5C20-48B7-A539-4800C770D7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00819" y="1"/>
            <a:ext cx="4059395" cy="6078538"/>
          </a:xfrm>
          <a:custGeom>
            <a:avLst/>
            <a:gdLst>
              <a:gd name="connsiteX0" fmla="*/ 922338 w 4579938"/>
              <a:gd name="connsiteY0" fmla="*/ 5805489 h 6858001"/>
              <a:gd name="connsiteX1" fmla="*/ 474663 w 4579938"/>
              <a:gd name="connsiteY1" fmla="*/ 6064251 h 6858001"/>
              <a:gd name="connsiteX2" fmla="*/ 474663 w 4579938"/>
              <a:gd name="connsiteY2" fmla="*/ 6578601 h 6858001"/>
              <a:gd name="connsiteX3" fmla="*/ 920750 w 4579938"/>
              <a:gd name="connsiteY3" fmla="*/ 6835776 h 6858001"/>
              <a:gd name="connsiteX4" fmla="*/ 1368425 w 4579938"/>
              <a:gd name="connsiteY4" fmla="*/ 6578601 h 6858001"/>
              <a:gd name="connsiteX5" fmla="*/ 1368425 w 4579938"/>
              <a:gd name="connsiteY5" fmla="*/ 6321426 h 6858001"/>
              <a:gd name="connsiteX6" fmla="*/ 1368425 w 4579938"/>
              <a:gd name="connsiteY6" fmla="*/ 6062664 h 6858001"/>
              <a:gd name="connsiteX7" fmla="*/ 465138 w 4579938"/>
              <a:gd name="connsiteY7" fmla="*/ 5016501 h 6858001"/>
              <a:gd name="connsiteX8" fmla="*/ 19050 w 4579938"/>
              <a:gd name="connsiteY8" fmla="*/ 5273676 h 6858001"/>
              <a:gd name="connsiteX9" fmla="*/ 19050 w 4579938"/>
              <a:gd name="connsiteY9" fmla="*/ 5448301 h 6858001"/>
              <a:gd name="connsiteX10" fmla="*/ 19050 w 4579938"/>
              <a:gd name="connsiteY10" fmla="*/ 5789614 h 6858001"/>
              <a:gd name="connsiteX11" fmla="*/ 465138 w 4579938"/>
              <a:gd name="connsiteY11" fmla="*/ 6048376 h 6858001"/>
              <a:gd name="connsiteX12" fmla="*/ 912813 w 4579938"/>
              <a:gd name="connsiteY12" fmla="*/ 5789614 h 6858001"/>
              <a:gd name="connsiteX13" fmla="*/ 912813 w 4579938"/>
              <a:gd name="connsiteY13" fmla="*/ 5495926 h 6858001"/>
              <a:gd name="connsiteX14" fmla="*/ 912813 w 4579938"/>
              <a:gd name="connsiteY14" fmla="*/ 5273676 h 6858001"/>
              <a:gd name="connsiteX15" fmla="*/ 465138 w 4579938"/>
              <a:gd name="connsiteY15" fmla="*/ 4994276 h 6858001"/>
              <a:gd name="connsiteX16" fmla="*/ 919163 w 4579938"/>
              <a:gd name="connsiteY16" fmla="*/ 5257801 h 6858001"/>
              <a:gd name="connsiteX17" fmla="*/ 930275 w 4579938"/>
              <a:gd name="connsiteY17" fmla="*/ 5264151 h 6858001"/>
              <a:gd name="connsiteX18" fmla="*/ 930275 w 4579938"/>
              <a:gd name="connsiteY18" fmla="*/ 5495926 h 6858001"/>
              <a:gd name="connsiteX19" fmla="*/ 930275 w 4579938"/>
              <a:gd name="connsiteY19" fmla="*/ 5789614 h 6858001"/>
              <a:gd name="connsiteX20" fmla="*/ 1385888 w 4579938"/>
              <a:gd name="connsiteY20" fmla="*/ 6053139 h 6858001"/>
              <a:gd name="connsiteX21" fmla="*/ 1385888 w 4579938"/>
              <a:gd name="connsiteY21" fmla="*/ 6321426 h 6858001"/>
              <a:gd name="connsiteX22" fmla="*/ 1385888 w 4579938"/>
              <a:gd name="connsiteY22" fmla="*/ 6589714 h 6858001"/>
              <a:gd name="connsiteX23" fmla="*/ 920750 w 4579938"/>
              <a:gd name="connsiteY23" fmla="*/ 6858001 h 6858001"/>
              <a:gd name="connsiteX24" fmla="*/ 455613 w 4579938"/>
              <a:gd name="connsiteY24" fmla="*/ 6589714 h 6858001"/>
              <a:gd name="connsiteX25" fmla="*/ 455613 w 4579938"/>
              <a:gd name="connsiteY25" fmla="*/ 6064251 h 6858001"/>
              <a:gd name="connsiteX26" fmla="*/ 0 w 4579938"/>
              <a:gd name="connsiteY26" fmla="*/ 5800726 h 6858001"/>
              <a:gd name="connsiteX27" fmla="*/ 0 w 4579938"/>
              <a:gd name="connsiteY27" fmla="*/ 5448301 h 6858001"/>
              <a:gd name="connsiteX28" fmla="*/ 0 w 4579938"/>
              <a:gd name="connsiteY28" fmla="*/ 5264151 h 6858001"/>
              <a:gd name="connsiteX29" fmla="*/ 1376363 w 4579938"/>
              <a:gd name="connsiteY29" fmla="*/ 3438526 h 6858001"/>
              <a:gd name="connsiteX30" fmla="*/ 930275 w 4579938"/>
              <a:gd name="connsiteY30" fmla="*/ 3695701 h 6858001"/>
              <a:gd name="connsiteX31" fmla="*/ 930275 w 4579938"/>
              <a:gd name="connsiteY31" fmla="*/ 3916363 h 6858001"/>
              <a:gd name="connsiteX32" fmla="*/ 930275 w 4579938"/>
              <a:gd name="connsiteY32" fmla="*/ 4213226 h 6858001"/>
              <a:gd name="connsiteX33" fmla="*/ 1376363 w 4579938"/>
              <a:gd name="connsiteY33" fmla="*/ 4470401 h 6858001"/>
              <a:gd name="connsiteX34" fmla="*/ 1825625 w 4579938"/>
              <a:gd name="connsiteY34" fmla="*/ 4213226 h 6858001"/>
              <a:gd name="connsiteX35" fmla="*/ 1825625 w 4579938"/>
              <a:gd name="connsiteY35" fmla="*/ 3695701 h 6858001"/>
              <a:gd name="connsiteX36" fmla="*/ 1587500 w 4579938"/>
              <a:gd name="connsiteY36" fmla="*/ 3559176 h 6858001"/>
              <a:gd name="connsiteX37" fmla="*/ 1835150 w 4579938"/>
              <a:gd name="connsiteY37" fmla="*/ 2649538 h 6858001"/>
              <a:gd name="connsiteX38" fmla="*/ 1385888 w 4579938"/>
              <a:gd name="connsiteY38" fmla="*/ 2908301 h 6858001"/>
              <a:gd name="connsiteX39" fmla="*/ 1385888 w 4579938"/>
              <a:gd name="connsiteY39" fmla="*/ 3114676 h 6858001"/>
              <a:gd name="connsiteX40" fmla="*/ 1385888 w 4579938"/>
              <a:gd name="connsiteY40" fmla="*/ 3422651 h 6858001"/>
              <a:gd name="connsiteX41" fmla="*/ 1622425 w 4579938"/>
              <a:gd name="connsiteY41" fmla="*/ 3559176 h 6858001"/>
              <a:gd name="connsiteX42" fmla="*/ 1835150 w 4579938"/>
              <a:gd name="connsiteY42" fmla="*/ 3683001 h 6858001"/>
              <a:gd name="connsiteX43" fmla="*/ 2047875 w 4579938"/>
              <a:gd name="connsiteY43" fmla="*/ 3559176 h 6858001"/>
              <a:gd name="connsiteX44" fmla="*/ 2281238 w 4579938"/>
              <a:gd name="connsiteY44" fmla="*/ 3424238 h 6858001"/>
              <a:gd name="connsiteX45" fmla="*/ 2281238 w 4579938"/>
              <a:gd name="connsiteY45" fmla="*/ 2908301 h 6858001"/>
              <a:gd name="connsiteX46" fmla="*/ 1835150 w 4579938"/>
              <a:gd name="connsiteY46" fmla="*/ 2628901 h 6858001"/>
              <a:gd name="connsiteX47" fmla="*/ 2074863 w 4579938"/>
              <a:gd name="connsiteY47" fmla="*/ 2768601 h 6858001"/>
              <a:gd name="connsiteX48" fmla="*/ 2298700 w 4579938"/>
              <a:gd name="connsiteY48" fmla="*/ 2897188 h 6858001"/>
              <a:gd name="connsiteX49" fmla="*/ 2298700 w 4579938"/>
              <a:gd name="connsiteY49" fmla="*/ 3433763 h 6858001"/>
              <a:gd name="connsiteX50" fmla="*/ 2079625 w 4579938"/>
              <a:gd name="connsiteY50" fmla="*/ 3559176 h 6858001"/>
              <a:gd name="connsiteX51" fmla="*/ 1843088 w 4579938"/>
              <a:gd name="connsiteY51" fmla="*/ 3695701 h 6858001"/>
              <a:gd name="connsiteX52" fmla="*/ 1843088 w 4579938"/>
              <a:gd name="connsiteY52" fmla="*/ 4222751 h 6858001"/>
              <a:gd name="connsiteX53" fmla="*/ 1376363 w 4579938"/>
              <a:gd name="connsiteY53" fmla="*/ 4489451 h 6858001"/>
              <a:gd name="connsiteX54" fmla="*/ 919163 w 4579938"/>
              <a:gd name="connsiteY54" fmla="*/ 4227513 h 6858001"/>
              <a:gd name="connsiteX55" fmla="*/ 912813 w 4579938"/>
              <a:gd name="connsiteY55" fmla="*/ 4222751 h 6858001"/>
              <a:gd name="connsiteX56" fmla="*/ 912813 w 4579938"/>
              <a:gd name="connsiteY56" fmla="*/ 3916363 h 6858001"/>
              <a:gd name="connsiteX57" fmla="*/ 912813 w 4579938"/>
              <a:gd name="connsiteY57" fmla="*/ 3686176 h 6858001"/>
              <a:gd name="connsiteX58" fmla="*/ 1368425 w 4579938"/>
              <a:gd name="connsiteY58" fmla="*/ 3422651 h 6858001"/>
              <a:gd name="connsiteX59" fmla="*/ 1368425 w 4579938"/>
              <a:gd name="connsiteY59" fmla="*/ 3114676 h 6858001"/>
              <a:gd name="connsiteX60" fmla="*/ 1368425 w 4579938"/>
              <a:gd name="connsiteY60" fmla="*/ 2897188 h 6858001"/>
              <a:gd name="connsiteX61" fmla="*/ 3201988 w 4579938"/>
              <a:gd name="connsiteY61" fmla="*/ 1862138 h 6858001"/>
              <a:gd name="connsiteX62" fmla="*/ 2754313 w 4579938"/>
              <a:gd name="connsiteY62" fmla="*/ 2119313 h 6858001"/>
              <a:gd name="connsiteX63" fmla="*/ 2754313 w 4579938"/>
              <a:gd name="connsiteY63" fmla="*/ 2635251 h 6858001"/>
              <a:gd name="connsiteX64" fmla="*/ 3201988 w 4579938"/>
              <a:gd name="connsiteY64" fmla="*/ 2892426 h 6858001"/>
              <a:gd name="connsiteX65" fmla="*/ 3648075 w 4579938"/>
              <a:gd name="connsiteY65" fmla="*/ 2635251 h 6858001"/>
              <a:gd name="connsiteX66" fmla="*/ 3648075 w 4579938"/>
              <a:gd name="connsiteY66" fmla="*/ 2327275 h 6858001"/>
              <a:gd name="connsiteX67" fmla="*/ 3648075 w 4579938"/>
              <a:gd name="connsiteY67" fmla="*/ 2117725 h 6858001"/>
              <a:gd name="connsiteX68" fmla="*/ 2746375 w 4579938"/>
              <a:gd name="connsiteY68" fmla="*/ 1071563 h 6858001"/>
              <a:gd name="connsiteX69" fmla="*/ 2298700 w 4579938"/>
              <a:gd name="connsiteY69" fmla="*/ 1330325 h 6858001"/>
              <a:gd name="connsiteX70" fmla="*/ 2298700 w 4579938"/>
              <a:gd name="connsiteY70" fmla="*/ 1524000 h 6858001"/>
              <a:gd name="connsiteX71" fmla="*/ 2298700 w 4579938"/>
              <a:gd name="connsiteY71" fmla="*/ 1846263 h 6858001"/>
              <a:gd name="connsiteX72" fmla="*/ 2746375 w 4579938"/>
              <a:gd name="connsiteY72" fmla="*/ 2105025 h 6858001"/>
              <a:gd name="connsiteX73" fmla="*/ 3192463 w 4579938"/>
              <a:gd name="connsiteY73" fmla="*/ 1846263 h 6858001"/>
              <a:gd name="connsiteX74" fmla="*/ 3192463 w 4579938"/>
              <a:gd name="connsiteY74" fmla="*/ 1330325 h 6858001"/>
              <a:gd name="connsiteX75" fmla="*/ 1831975 w 4579938"/>
              <a:gd name="connsiteY75" fmla="*/ 1071563 h 6858001"/>
              <a:gd name="connsiteX76" fmla="*/ 1385888 w 4579938"/>
              <a:gd name="connsiteY76" fmla="*/ 1330325 h 6858001"/>
              <a:gd name="connsiteX77" fmla="*/ 1385888 w 4579938"/>
              <a:gd name="connsiteY77" fmla="*/ 1524000 h 6858001"/>
              <a:gd name="connsiteX78" fmla="*/ 1385888 w 4579938"/>
              <a:gd name="connsiteY78" fmla="*/ 1846263 h 6858001"/>
              <a:gd name="connsiteX79" fmla="*/ 1835150 w 4579938"/>
              <a:gd name="connsiteY79" fmla="*/ 2105025 h 6858001"/>
              <a:gd name="connsiteX80" fmla="*/ 2281238 w 4579938"/>
              <a:gd name="connsiteY80" fmla="*/ 1846263 h 6858001"/>
              <a:gd name="connsiteX81" fmla="*/ 2281238 w 4579938"/>
              <a:gd name="connsiteY81" fmla="*/ 1524000 h 6858001"/>
              <a:gd name="connsiteX82" fmla="*/ 2281238 w 4579938"/>
              <a:gd name="connsiteY82" fmla="*/ 1330325 h 6858001"/>
              <a:gd name="connsiteX83" fmla="*/ 920750 w 4579938"/>
              <a:gd name="connsiteY83" fmla="*/ 1071563 h 6858001"/>
              <a:gd name="connsiteX84" fmla="*/ 474663 w 4579938"/>
              <a:gd name="connsiteY84" fmla="*/ 1330325 h 6858001"/>
              <a:gd name="connsiteX85" fmla="*/ 474663 w 4579938"/>
              <a:gd name="connsiteY85" fmla="*/ 1524000 h 6858001"/>
              <a:gd name="connsiteX86" fmla="*/ 474663 w 4579938"/>
              <a:gd name="connsiteY86" fmla="*/ 1846263 h 6858001"/>
              <a:gd name="connsiteX87" fmla="*/ 920750 w 4579938"/>
              <a:gd name="connsiteY87" fmla="*/ 2105025 h 6858001"/>
              <a:gd name="connsiteX88" fmla="*/ 1368425 w 4579938"/>
              <a:gd name="connsiteY88" fmla="*/ 1846263 h 6858001"/>
              <a:gd name="connsiteX89" fmla="*/ 1368425 w 4579938"/>
              <a:gd name="connsiteY89" fmla="*/ 1524000 h 6858001"/>
              <a:gd name="connsiteX90" fmla="*/ 1368425 w 4579938"/>
              <a:gd name="connsiteY90" fmla="*/ 1330325 h 6858001"/>
              <a:gd name="connsiteX91" fmla="*/ 4113213 w 4579938"/>
              <a:gd name="connsiteY91" fmla="*/ 284163 h 6858001"/>
              <a:gd name="connsiteX92" fmla="*/ 3665538 w 4579938"/>
              <a:gd name="connsiteY92" fmla="*/ 542925 h 6858001"/>
              <a:gd name="connsiteX93" fmla="*/ 3665538 w 4579938"/>
              <a:gd name="connsiteY93" fmla="*/ 1058863 h 6858001"/>
              <a:gd name="connsiteX94" fmla="*/ 4113213 w 4579938"/>
              <a:gd name="connsiteY94" fmla="*/ 1316038 h 6858001"/>
              <a:gd name="connsiteX95" fmla="*/ 4560888 w 4579938"/>
              <a:gd name="connsiteY95" fmla="*/ 1058863 h 6858001"/>
              <a:gd name="connsiteX96" fmla="*/ 4560888 w 4579938"/>
              <a:gd name="connsiteY96" fmla="*/ 800100 h 6858001"/>
              <a:gd name="connsiteX97" fmla="*/ 4560888 w 4579938"/>
              <a:gd name="connsiteY97" fmla="*/ 542925 h 6858001"/>
              <a:gd name="connsiteX98" fmla="*/ 2287588 w 4579938"/>
              <a:gd name="connsiteY98" fmla="*/ 284163 h 6858001"/>
              <a:gd name="connsiteX99" fmla="*/ 1843088 w 4579938"/>
              <a:gd name="connsiteY99" fmla="*/ 542925 h 6858001"/>
              <a:gd name="connsiteX100" fmla="*/ 1843088 w 4579938"/>
              <a:gd name="connsiteY100" fmla="*/ 800100 h 6858001"/>
              <a:gd name="connsiteX101" fmla="*/ 1843088 w 4579938"/>
              <a:gd name="connsiteY101" fmla="*/ 1057275 h 6858001"/>
              <a:gd name="connsiteX102" fmla="*/ 2290763 w 4579938"/>
              <a:gd name="connsiteY102" fmla="*/ 1314450 h 6858001"/>
              <a:gd name="connsiteX103" fmla="*/ 2736850 w 4579938"/>
              <a:gd name="connsiteY103" fmla="*/ 1057275 h 6858001"/>
              <a:gd name="connsiteX104" fmla="*/ 2736850 w 4579938"/>
              <a:gd name="connsiteY104" fmla="*/ 723900 h 6858001"/>
              <a:gd name="connsiteX105" fmla="*/ 2736850 w 4579938"/>
              <a:gd name="connsiteY105" fmla="*/ 542925 h 6858001"/>
              <a:gd name="connsiteX106" fmla="*/ 4113213 w 4579938"/>
              <a:gd name="connsiteY106" fmla="*/ 263525 h 6858001"/>
              <a:gd name="connsiteX107" fmla="*/ 4579938 w 4579938"/>
              <a:gd name="connsiteY107" fmla="*/ 531813 h 6858001"/>
              <a:gd name="connsiteX108" fmla="*/ 4579938 w 4579938"/>
              <a:gd name="connsiteY108" fmla="*/ 800100 h 6858001"/>
              <a:gd name="connsiteX109" fmla="*/ 4579938 w 4579938"/>
              <a:gd name="connsiteY109" fmla="*/ 1066800 h 6858001"/>
              <a:gd name="connsiteX110" fmla="*/ 4113213 w 4579938"/>
              <a:gd name="connsiteY110" fmla="*/ 1336675 h 6858001"/>
              <a:gd name="connsiteX111" fmla="*/ 3648075 w 4579938"/>
              <a:gd name="connsiteY111" fmla="*/ 1066800 h 6858001"/>
              <a:gd name="connsiteX112" fmla="*/ 3648075 w 4579938"/>
              <a:gd name="connsiteY112" fmla="*/ 723900 h 6858001"/>
              <a:gd name="connsiteX113" fmla="*/ 3648075 w 4579938"/>
              <a:gd name="connsiteY113" fmla="*/ 531813 h 6858001"/>
              <a:gd name="connsiteX114" fmla="*/ 2281238 w 4579938"/>
              <a:gd name="connsiteY114" fmla="*/ 0 h 6858001"/>
              <a:gd name="connsiteX115" fmla="*/ 2298700 w 4579938"/>
              <a:gd name="connsiteY115" fmla="*/ 0 h 6858001"/>
              <a:gd name="connsiteX116" fmla="*/ 2298700 w 4579938"/>
              <a:gd name="connsiteY116" fmla="*/ 268288 h 6858001"/>
              <a:gd name="connsiteX117" fmla="*/ 2746375 w 4579938"/>
              <a:gd name="connsiteY117" fmla="*/ 525463 h 6858001"/>
              <a:gd name="connsiteX118" fmla="*/ 3192463 w 4579938"/>
              <a:gd name="connsiteY118" fmla="*/ 268288 h 6858001"/>
              <a:gd name="connsiteX119" fmla="*/ 3192463 w 4579938"/>
              <a:gd name="connsiteY119" fmla="*/ 0 h 6858001"/>
              <a:gd name="connsiteX120" fmla="*/ 3211513 w 4579938"/>
              <a:gd name="connsiteY120" fmla="*/ 0 h 6858001"/>
              <a:gd name="connsiteX121" fmla="*/ 3211513 w 4579938"/>
              <a:gd name="connsiteY121" fmla="*/ 279400 h 6858001"/>
              <a:gd name="connsiteX122" fmla="*/ 2754313 w 4579938"/>
              <a:gd name="connsiteY122" fmla="*/ 542925 h 6858001"/>
              <a:gd name="connsiteX123" fmla="*/ 2754313 w 4579938"/>
              <a:gd name="connsiteY123" fmla="*/ 723900 h 6858001"/>
              <a:gd name="connsiteX124" fmla="*/ 2754313 w 4579938"/>
              <a:gd name="connsiteY124" fmla="*/ 1057275 h 6858001"/>
              <a:gd name="connsiteX125" fmla="*/ 3211513 w 4579938"/>
              <a:gd name="connsiteY125" fmla="*/ 1319213 h 6858001"/>
              <a:gd name="connsiteX126" fmla="*/ 3211513 w 4579938"/>
              <a:gd name="connsiteY126" fmla="*/ 1846263 h 6858001"/>
              <a:gd name="connsiteX127" fmla="*/ 3665538 w 4579938"/>
              <a:gd name="connsiteY127" fmla="*/ 2109788 h 6858001"/>
              <a:gd name="connsiteX128" fmla="*/ 3665538 w 4579938"/>
              <a:gd name="connsiteY128" fmla="*/ 2327275 h 6858001"/>
              <a:gd name="connsiteX129" fmla="*/ 3665538 w 4579938"/>
              <a:gd name="connsiteY129" fmla="*/ 2644776 h 6858001"/>
              <a:gd name="connsiteX130" fmla="*/ 3201988 w 4579938"/>
              <a:gd name="connsiteY130" fmla="*/ 2914651 h 6858001"/>
              <a:gd name="connsiteX131" fmla="*/ 2949575 w 4579938"/>
              <a:gd name="connsiteY131" fmla="*/ 2768601 h 6858001"/>
              <a:gd name="connsiteX132" fmla="*/ 2736850 w 4579938"/>
              <a:gd name="connsiteY132" fmla="*/ 2644776 h 6858001"/>
              <a:gd name="connsiteX133" fmla="*/ 2736850 w 4579938"/>
              <a:gd name="connsiteY133" fmla="*/ 2119313 h 6858001"/>
              <a:gd name="connsiteX134" fmla="*/ 2290763 w 4579938"/>
              <a:gd name="connsiteY134" fmla="*/ 1862138 h 6858001"/>
              <a:gd name="connsiteX135" fmla="*/ 1835150 w 4579938"/>
              <a:gd name="connsiteY135" fmla="*/ 2125663 h 6858001"/>
              <a:gd name="connsiteX136" fmla="*/ 1376363 w 4579938"/>
              <a:gd name="connsiteY136" fmla="*/ 1862138 h 6858001"/>
              <a:gd name="connsiteX137" fmla="*/ 920750 w 4579938"/>
              <a:gd name="connsiteY137" fmla="*/ 2125663 h 6858001"/>
              <a:gd name="connsiteX138" fmla="*/ 455613 w 4579938"/>
              <a:gd name="connsiteY138" fmla="*/ 1857375 h 6858001"/>
              <a:gd name="connsiteX139" fmla="*/ 455613 w 4579938"/>
              <a:gd name="connsiteY139" fmla="*/ 1524000 h 6858001"/>
              <a:gd name="connsiteX140" fmla="*/ 455613 w 4579938"/>
              <a:gd name="connsiteY140" fmla="*/ 1319213 h 6858001"/>
              <a:gd name="connsiteX141" fmla="*/ 920750 w 4579938"/>
              <a:gd name="connsiteY141" fmla="*/ 1052513 h 6858001"/>
              <a:gd name="connsiteX142" fmla="*/ 1376363 w 4579938"/>
              <a:gd name="connsiteY142" fmla="*/ 1314450 h 6858001"/>
              <a:gd name="connsiteX143" fmla="*/ 1825625 w 4579938"/>
              <a:gd name="connsiteY143" fmla="*/ 1057275 h 6858001"/>
              <a:gd name="connsiteX144" fmla="*/ 1825625 w 4579938"/>
              <a:gd name="connsiteY144" fmla="*/ 800100 h 6858001"/>
              <a:gd name="connsiteX145" fmla="*/ 1825625 w 4579938"/>
              <a:gd name="connsiteY145" fmla="*/ 531813 h 6858001"/>
              <a:gd name="connsiteX146" fmla="*/ 2281238 w 4579938"/>
              <a:gd name="connsiteY146" fmla="*/ 268288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</a:cxnLst>
            <a:rect l="l" t="t" r="r" b="b"/>
            <a:pathLst>
              <a:path w="4579938" h="6858001">
                <a:moveTo>
                  <a:pt x="922338" y="5805489"/>
                </a:moveTo>
                <a:lnTo>
                  <a:pt x="474663" y="6064251"/>
                </a:lnTo>
                <a:lnTo>
                  <a:pt x="474663" y="6578601"/>
                </a:lnTo>
                <a:lnTo>
                  <a:pt x="920750" y="6835776"/>
                </a:lnTo>
                <a:lnTo>
                  <a:pt x="1368425" y="6578601"/>
                </a:lnTo>
                <a:lnTo>
                  <a:pt x="1368425" y="6321426"/>
                </a:lnTo>
                <a:lnTo>
                  <a:pt x="1368425" y="6062664"/>
                </a:lnTo>
                <a:close/>
                <a:moveTo>
                  <a:pt x="465138" y="5016501"/>
                </a:moveTo>
                <a:lnTo>
                  <a:pt x="19050" y="5273676"/>
                </a:lnTo>
                <a:lnTo>
                  <a:pt x="19050" y="5448301"/>
                </a:lnTo>
                <a:lnTo>
                  <a:pt x="19050" y="5789614"/>
                </a:lnTo>
                <a:lnTo>
                  <a:pt x="465138" y="6048376"/>
                </a:lnTo>
                <a:lnTo>
                  <a:pt x="912813" y="5789614"/>
                </a:lnTo>
                <a:lnTo>
                  <a:pt x="912813" y="5495926"/>
                </a:lnTo>
                <a:lnTo>
                  <a:pt x="912813" y="5273676"/>
                </a:lnTo>
                <a:close/>
                <a:moveTo>
                  <a:pt x="465138" y="4994276"/>
                </a:moveTo>
                <a:lnTo>
                  <a:pt x="919163" y="5257801"/>
                </a:lnTo>
                <a:lnTo>
                  <a:pt x="930275" y="5264151"/>
                </a:lnTo>
                <a:lnTo>
                  <a:pt x="930275" y="5495926"/>
                </a:lnTo>
                <a:lnTo>
                  <a:pt x="930275" y="5789614"/>
                </a:lnTo>
                <a:lnTo>
                  <a:pt x="1385888" y="6053139"/>
                </a:lnTo>
                <a:lnTo>
                  <a:pt x="1385888" y="6321426"/>
                </a:lnTo>
                <a:lnTo>
                  <a:pt x="1385888" y="6589714"/>
                </a:lnTo>
                <a:lnTo>
                  <a:pt x="920750" y="6858001"/>
                </a:lnTo>
                <a:lnTo>
                  <a:pt x="455613" y="6589714"/>
                </a:lnTo>
                <a:lnTo>
                  <a:pt x="455613" y="6064251"/>
                </a:lnTo>
                <a:lnTo>
                  <a:pt x="0" y="5800726"/>
                </a:lnTo>
                <a:lnTo>
                  <a:pt x="0" y="5448301"/>
                </a:lnTo>
                <a:lnTo>
                  <a:pt x="0" y="5264151"/>
                </a:lnTo>
                <a:close/>
                <a:moveTo>
                  <a:pt x="1376363" y="3438526"/>
                </a:moveTo>
                <a:lnTo>
                  <a:pt x="930275" y="3695701"/>
                </a:lnTo>
                <a:lnTo>
                  <a:pt x="930275" y="3916363"/>
                </a:lnTo>
                <a:lnTo>
                  <a:pt x="930275" y="4213226"/>
                </a:lnTo>
                <a:lnTo>
                  <a:pt x="1376363" y="4470401"/>
                </a:lnTo>
                <a:lnTo>
                  <a:pt x="1825625" y="4213226"/>
                </a:lnTo>
                <a:lnTo>
                  <a:pt x="1825625" y="3695701"/>
                </a:lnTo>
                <a:lnTo>
                  <a:pt x="1587500" y="3559176"/>
                </a:lnTo>
                <a:close/>
                <a:moveTo>
                  <a:pt x="1835150" y="2649538"/>
                </a:moveTo>
                <a:lnTo>
                  <a:pt x="1385888" y="2908301"/>
                </a:lnTo>
                <a:lnTo>
                  <a:pt x="1385888" y="3114676"/>
                </a:lnTo>
                <a:lnTo>
                  <a:pt x="1385888" y="3422651"/>
                </a:lnTo>
                <a:lnTo>
                  <a:pt x="1622425" y="3559176"/>
                </a:lnTo>
                <a:lnTo>
                  <a:pt x="1835150" y="3683001"/>
                </a:lnTo>
                <a:lnTo>
                  <a:pt x="2047875" y="3559176"/>
                </a:lnTo>
                <a:lnTo>
                  <a:pt x="2281238" y="3424238"/>
                </a:lnTo>
                <a:lnTo>
                  <a:pt x="2281238" y="2908301"/>
                </a:lnTo>
                <a:close/>
                <a:moveTo>
                  <a:pt x="1835150" y="2628901"/>
                </a:moveTo>
                <a:lnTo>
                  <a:pt x="2074863" y="2768601"/>
                </a:lnTo>
                <a:lnTo>
                  <a:pt x="2298700" y="2897188"/>
                </a:lnTo>
                <a:lnTo>
                  <a:pt x="2298700" y="3433763"/>
                </a:lnTo>
                <a:lnTo>
                  <a:pt x="2079625" y="3559176"/>
                </a:lnTo>
                <a:lnTo>
                  <a:pt x="1843088" y="3695701"/>
                </a:lnTo>
                <a:lnTo>
                  <a:pt x="1843088" y="4222751"/>
                </a:lnTo>
                <a:lnTo>
                  <a:pt x="1376363" y="4489451"/>
                </a:lnTo>
                <a:lnTo>
                  <a:pt x="919163" y="4227513"/>
                </a:lnTo>
                <a:lnTo>
                  <a:pt x="912813" y="4222751"/>
                </a:lnTo>
                <a:lnTo>
                  <a:pt x="912813" y="3916363"/>
                </a:lnTo>
                <a:lnTo>
                  <a:pt x="912813" y="3686176"/>
                </a:lnTo>
                <a:lnTo>
                  <a:pt x="1368425" y="3422651"/>
                </a:lnTo>
                <a:lnTo>
                  <a:pt x="1368425" y="3114676"/>
                </a:lnTo>
                <a:lnTo>
                  <a:pt x="1368425" y="2897188"/>
                </a:lnTo>
                <a:close/>
                <a:moveTo>
                  <a:pt x="3201988" y="1862138"/>
                </a:moveTo>
                <a:lnTo>
                  <a:pt x="2754313" y="2119313"/>
                </a:lnTo>
                <a:lnTo>
                  <a:pt x="2754313" y="2635251"/>
                </a:lnTo>
                <a:lnTo>
                  <a:pt x="3201988" y="2892426"/>
                </a:lnTo>
                <a:lnTo>
                  <a:pt x="3648075" y="2635251"/>
                </a:lnTo>
                <a:lnTo>
                  <a:pt x="3648075" y="2327275"/>
                </a:lnTo>
                <a:lnTo>
                  <a:pt x="3648075" y="2117725"/>
                </a:lnTo>
                <a:close/>
                <a:moveTo>
                  <a:pt x="2746375" y="1071563"/>
                </a:moveTo>
                <a:lnTo>
                  <a:pt x="2298700" y="1330325"/>
                </a:lnTo>
                <a:lnTo>
                  <a:pt x="2298700" y="1524000"/>
                </a:lnTo>
                <a:lnTo>
                  <a:pt x="2298700" y="1846263"/>
                </a:lnTo>
                <a:lnTo>
                  <a:pt x="2746375" y="2105025"/>
                </a:lnTo>
                <a:lnTo>
                  <a:pt x="3192463" y="1846263"/>
                </a:lnTo>
                <a:lnTo>
                  <a:pt x="3192463" y="1330325"/>
                </a:lnTo>
                <a:close/>
                <a:moveTo>
                  <a:pt x="1831975" y="1071563"/>
                </a:moveTo>
                <a:lnTo>
                  <a:pt x="1385888" y="1330325"/>
                </a:lnTo>
                <a:lnTo>
                  <a:pt x="1385888" y="1524000"/>
                </a:lnTo>
                <a:lnTo>
                  <a:pt x="1385888" y="1846263"/>
                </a:lnTo>
                <a:lnTo>
                  <a:pt x="1835150" y="2105025"/>
                </a:lnTo>
                <a:lnTo>
                  <a:pt x="2281238" y="1846263"/>
                </a:lnTo>
                <a:lnTo>
                  <a:pt x="2281238" y="1524000"/>
                </a:lnTo>
                <a:lnTo>
                  <a:pt x="2281238" y="1330325"/>
                </a:lnTo>
                <a:close/>
                <a:moveTo>
                  <a:pt x="920750" y="1071563"/>
                </a:moveTo>
                <a:lnTo>
                  <a:pt x="474663" y="1330325"/>
                </a:lnTo>
                <a:lnTo>
                  <a:pt x="474663" y="1524000"/>
                </a:lnTo>
                <a:lnTo>
                  <a:pt x="474663" y="1846263"/>
                </a:lnTo>
                <a:lnTo>
                  <a:pt x="920750" y="2105025"/>
                </a:lnTo>
                <a:lnTo>
                  <a:pt x="1368425" y="1846263"/>
                </a:lnTo>
                <a:lnTo>
                  <a:pt x="1368425" y="1524000"/>
                </a:lnTo>
                <a:lnTo>
                  <a:pt x="1368425" y="1330325"/>
                </a:lnTo>
                <a:close/>
                <a:moveTo>
                  <a:pt x="4113213" y="284163"/>
                </a:moveTo>
                <a:lnTo>
                  <a:pt x="3665538" y="542925"/>
                </a:lnTo>
                <a:lnTo>
                  <a:pt x="3665538" y="1058863"/>
                </a:lnTo>
                <a:lnTo>
                  <a:pt x="4113213" y="1316038"/>
                </a:lnTo>
                <a:lnTo>
                  <a:pt x="4560888" y="1058863"/>
                </a:lnTo>
                <a:lnTo>
                  <a:pt x="4560888" y="800100"/>
                </a:lnTo>
                <a:lnTo>
                  <a:pt x="4560888" y="542925"/>
                </a:lnTo>
                <a:close/>
                <a:moveTo>
                  <a:pt x="2287588" y="284163"/>
                </a:moveTo>
                <a:lnTo>
                  <a:pt x="1843088" y="542925"/>
                </a:lnTo>
                <a:lnTo>
                  <a:pt x="1843088" y="800100"/>
                </a:lnTo>
                <a:lnTo>
                  <a:pt x="1843088" y="1057275"/>
                </a:lnTo>
                <a:lnTo>
                  <a:pt x="2290763" y="1314450"/>
                </a:lnTo>
                <a:lnTo>
                  <a:pt x="2736850" y="1057275"/>
                </a:lnTo>
                <a:lnTo>
                  <a:pt x="2736850" y="723900"/>
                </a:lnTo>
                <a:lnTo>
                  <a:pt x="2736850" y="542925"/>
                </a:lnTo>
                <a:close/>
                <a:moveTo>
                  <a:pt x="4113213" y="263525"/>
                </a:moveTo>
                <a:lnTo>
                  <a:pt x="4579938" y="531813"/>
                </a:lnTo>
                <a:lnTo>
                  <a:pt x="4579938" y="800100"/>
                </a:lnTo>
                <a:lnTo>
                  <a:pt x="4579938" y="1066800"/>
                </a:lnTo>
                <a:lnTo>
                  <a:pt x="4113213" y="1336675"/>
                </a:lnTo>
                <a:lnTo>
                  <a:pt x="3648075" y="1066800"/>
                </a:lnTo>
                <a:lnTo>
                  <a:pt x="3648075" y="723900"/>
                </a:lnTo>
                <a:lnTo>
                  <a:pt x="3648075" y="531813"/>
                </a:lnTo>
                <a:close/>
                <a:moveTo>
                  <a:pt x="2281238" y="0"/>
                </a:moveTo>
                <a:lnTo>
                  <a:pt x="2298700" y="0"/>
                </a:lnTo>
                <a:lnTo>
                  <a:pt x="2298700" y="268288"/>
                </a:lnTo>
                <a:lnTo>
                  <a:pt x="2746375" y="525463"/>
                </a:lnTo>
                <a:lnTo>
                  <a:pt x="3192463" y="268288"/>
                </a:lnTo>
                <a:lnTo>
                  <a:pt x="3192463" y="0"/>
                </a:lnTo>
                <a:lnTo>
                  <a:pt x="3211513" y="0"/>
                </a:lnTo>
                <a:lnTo>
                  <a:pt x="3211513" y="279400"/>
                </a:lnTo>
                <a:lnTo>
                  <a:pt x="2754313" y="542925"/>
                </a:lnTo>
                <a:lnTo>
                  <a:pt x="2754313" y="723900"/>
                </a:lnTo>
                <a:lnTo>
                  <a:pt x="2754313" y="1057275"/>
                </a:lnTo>
                <a:lnTo>
                  <a:pt x="3211513" y="1319213"/>
                </a:lnTo>
                <a:lnTo>
                  <a:pt x="3211513" y="1846263"/>
                </a:lnTo>
                <a:lnTo>
                  <a:pt x="3665538" y="2109788"/>
                </a:lnTo>
                <a:lnTo>
                  <a:pt x="3665538" y="2327275"/>
                </a:lnTo>
                <a:lnTo>
                  <a:pt x="3665538" y="2644776"/>
                </a:lnTo>
                <a:lnTo>
                  <a:pt x="3201988" y="2914651"/>
                </a:lnTo>
                <a:lnTo>
                  <a:pt x="2949575" y="2768601"/>
                </a:lnTo>
                <a:lnTo>
                  <a:pt x="2736850" y="2644776"/>
                </a:lnTo>
                <a:lnTo>
                  <a:pt x="2736850" y="2119313"/>
                </a:lnTo>
                <a:lnTo>
                  <a:pt x="2290763" y="1862138"/>
                </a:lnTo>
                <a:lnTo>
                  <a:pt x="1835150" y="2125663"/>
                </a:lnTo>
                <a:lnTo>
                  <a:pt x="1376363" y="1862138"/>
                </a:lnTo>
                <a:lnTo>
                  <a:pt x="920750" y="2125663"/>
                </a:lnTo>
                <a:lnTo>
                  <a:pt x="455613" y="1857375"/>
                </a:lnTo>
                <a:lnTo>
                  <a:pt x="455613" y="1524000"/>
                </a:lnTo>
                <a:lnTo>
                  <a:pt x="455613" y="1319213"/>
                </a:lnTo>
                <a:lnTo>
                  <a:pt x="920750" y="1052513"/>
                </a:lnTo>
                <a:lnTo>
                  <a:pt x="1376363" y="1314450"/>
                </a:lnTo>
                <a:lnTo>
                  <a:pt x="1825625" y="1057275"/>
                </a:lnTo>
                <a:lnTo>
                  <a:pt x="1825625" y="800100"/>
                </a:lnTo>
                <a:lnTo>
                  <a:pt x="1825625" y="531813"/>
                </a:lnTo>
                <a:lnTo>
                  <a:pt x="2281238" y="26828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400">
                <a:noFill/>
              </a:defRPr>
            </a:lvl1pPr>
            <a:lvl2pPr marL="0" indent="0">
              <a:buNone/>
              <a:defRPr sz="400">
                <a:noFill/>
              </a:defRPr>
            </a:lvl2pPr>
            <a:lvl3pPr marL="0" indent="0">
              <a:buNone/>
              <a:defRPr sz="400">
                <a:noFill/>
              </a:defRPr>
            </a:lvl3pPr>
            <a:lvl4pPr marL="0" indent="0">
              <a:buFont typeface="Arial" panose="020B0604020202020204" pitchFamily="34" charset="0"/>
              <a:buNone/>
              <a:defRPr sz="400">
                <a:noFill/>
              </a:defRPr>
            </a:lvl4pPr>
            <a:lvl5pPr marL="0" indent="0">
              <a:buFont typeface="Arial" panose="020B0604020202020204" pitchFamily="34" charset="0"/>
              <a:buNone/>
              <a:defRPr sz="400">
                <a:noFill/>
              </a:defRPr>
            </a:lvl5pPr>
            <a:lvl6pPr marL="0" indent="0">
              <a:buFont typeface="Arial" panose="020B0604020202020204" pitchFamily="34" charset="0"/>
              <a:buNone/>
              <a:defRPr sz="400">
                <a:noFill/>
              </a:defRPr>
            </a:lvl6pPr>
            <a:lvl7pPr marL="0" indent="0">
              <a:buFont typeface="Arial" panose="020B0604020202020204" pitchFamily="34" charset="0"/>
              <a:buNone/>
              <a:defRPr sz="400">
                <a:noFill/>
              </a:defRPr>
            </a:lvl7pPr>
            <a:lvl8pPr marL="0" indent="0">
              <a:buFont typeface="Arial" panose="020B0604020202020204" pitchFamily="34" charset="0"/>
              <a:buNone/>
              <a:defRPr sz="400">
                <a:noFill/>
              </a:defRPr>
            </a:lvl8pPr>
            <a:lvl9pPr marL="0" indent="0">
              <a:buFont typeface="Arial" panose="020B0604020202020204" pitchFamily="34" charset="0"/>
              <a:buNone/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E8C445F-4CBD-4B94-9B7B-050D71FA58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412" y="967666"/>
            <a:ext cx="7054788" cy="54430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2pPr>
              <a:defRPr lang="es-ES" b="1" dirty="0" smtClean="0"/>
            </a:lvl2pPr>
            <a:lvl3pPr>
              <a:defRPr lang="es-ES" dirty="0" smtClean="0"/>
            </a:lvl3pPr>
            <a:lvl4pPr>
              <a:defRPr lang="es-ES" dirty="0" smtClean="0"/>
            </a:lvl4pPr>
            <a:lvl5pPr>
              <a:defRPr lang="en-AU" dirty="0"/>
            </a:lvl5pPr>
          </a:lstStyle>
          <a:p>
            <a:pPr lvl="1">
              <a:spcAft>
                <a:spcPts val="1000"/>
              </a:spcAft>
            </a:pPr>
            <a:r>
              <a:rPr lang="es-ES" dirty="0" err="1"/>
              <a:t>Chapter</a:t>
            </a:r>
            <a:r>
              <a:rPr lang="es-ES" dirty="0"/>
              <a:t> 1</a:t>
            </a:r>
          </a:p>
          <a:p>
            <a:pPr lvl="1">
              <a:spcAft>
                <a:spcPts val="1000"/>
              </a:spcAft>
            </a:pPr>
            <a:r>
              <a:rPr lang="es-ES" dirty="0" err="1"/>
              <a:t>Chapter</a:t>
            </a:r>
            <a:r>
              <a:rPr lang="es-ES" dirty="0"/>
              <a:t> 2</a:t>
            </a:r>
          </a:p>
          <a:p>
            <a:pPr lvl="1">
              <a:spcAft>
                <a:spcPts val="1000"/>
              </a:spcAft>
            </a:pPr>
            <a:r>
              <a:rPr lang="es-ES" dirty="0" err="1"/>
              <a:t>Chapter</a:t>
            </a:r>
            <a:r>
              <a:rPr lang="es-ES" dirty="0"/>
              <a:t> 3</a:t>
            </a:r>
          </a:p>
          <a:p>
            <a:pPr lvl="1">
              <a:spcAft>
                <a:spcPts val="1000"/>
              </a:spcAft>
            </a:pPr>
            <a:endParaRPr lang="es-ES" dirty="0"/>
          </a:p>
          <a:p>
            <a:pPr lvl="1">
              <a:spcAft>
                <a:spcPts val="1000"/>
              </a:spcAft>
            </a:pPr>
            <a:endParaRPr lang="es-ES" dirty="0"/>
          </a:p>
          <a:p>
            <a:pPr lvl="1">
              <a:spcAft>
                <a:spcPts val="1000"/>
              </a:spcAft>
            </a:pPr>
            <a:endParaRPr lang="en-AU" dirty="0"/>
          </a:p>
        </p:txBody>
      </p:sp>
      <p:sp>
        <p:nvSpPr>
          <p:cNvPr id="9" name="Marcador de texto 11">
            <a:extLst>
              <a:ext uri="{FF2B5EF4-FFF2-40B4-BE49-F238E27FC236}">
                <a16:creationId xmlns:a16="http://schemas.microsoft.com/office/drawing/2014/main" id="{97ECAC6B-8ED8-47F1-9488-478CC54EF9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66773" y="447251"/>
            <a:ext cx="1109709" cy="342863"/>
          </a:xfrm>
          <a:prstGeom prst="rect">
            <a:avLst/>
          </a:prstGeom>
        </p:spPr>
        <p:txBody>
          <a:bodyPr anchor="ctr"/>
          <a:lstStyle>
            <a:lvl1pPr algn="r">
              <a:defRPr sz="700"/>
            </a:lvl1pPr>
          </a:lstStyle>
          <a:p>
            <a:pPr lvl="0"/>
            <a:r>
              <a:rPr lang="es-ES" dirty="0" err="1"/>
              <a:t>Customer</a:t>
            </a:r>
            <a:r>
              <a:rPr lang="es-ES" dirty="0"/>
              <a:t> </a:t>
            </a:r>
            <a:r>
              <a:rPr lang="es-ES" dirty="0" err="1"/>
              <a:t>name</a:t>
            </a:r>
            <a:r>
              <a:rPr lang="es-ES" dirty="0"/>
              <a:t> </a:t>
            </a:r>
            <a:r>
              <a:rPr lang="es-ES" dirty="0" err="1"/>
              <a:t>or</a:t>
            </a:r>
            <a:r>
              <a:rPr lang="es-ES" dirty="0"/>
              <a:t> logo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2D517523-7402-4037-9617-99D7B07933F9}"/>
              </a:ext>
            </a:extLst>
          </p:cNvPr>
          <p:cNvSpPr txBox="1">
            <a:spLocks/>
          </p:cNvSpPr>
          <p:nvPr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7BFD8125-2427-41BA-B8EC-235A5792DFA2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114317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C4B853A-6ACC-410B-AF03-E2AFF2A6DB8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Text Placeholder 19">
            <a:extLst>
              <a:ext uri="{FF2B5EF4-FFF2-40B4-BE49-F238E27FC236}">
                <a16:creationId xmlns:a16="http://schemas.microsoft.com/office/drawing/2014/main" id="{7E67101A-9C68-4535-83F7-531D90EB76B2}"/>
              </a:ext>
            </a:extLst>
          </p:cNvPr>
          <p:cNvSpPr txBox="1">
            <a:spLocks/>
          </p:cNvSpPr>
          <p:nvPr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9" name="Marcador de número de diapositiva 2">
            <a:extLst>
              <a:ext uri="{FF2B5EF4-FFF2-40B4-BE49-F238E27FC236}">
                <a16:creationId xmlns:a16="http://schemas.microsoft.com/office/drawing/2014/main" id="{EDFD7706-E494-4BEB-A21B-9574106458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76482" y="6537960"/>
            <a:ext cx="512647" cy="135026"/>
          </a:xfrm>
        </p:spPr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B7FF3926-51B8-4AA2-BDA9-DC0611413E29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08885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115110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57D4B20F-79F0-45FA-AA35-C65C050164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00819" y="1"/>
            <a:ext cx="4059394" cy="6078538"/>
          </a:xfrm>
          <a:custGeom>
            <a:avLst/>
            <a:gdLst>
              <a:gd name="connsiteX0" fmla="*/ 922338 w 4579938"/>
              <a:gd name="connsiteY0" fmla="*/ 5805489 h 6858001"/>
              <a:gd name="connsiteX1" fmla="*/ 474663 w 4579938"/>
              <a:gd name="connsiteY1" fmla="*/ 6064251 h 6858001"/>
              <a:gd name="connsiteX2" fmla="*/ 474663 w 4579938"/>
              <a:gd name="connsiteY2" fmla="*/ 6578601 h 6858001"/>
              <a:gd name="connsiteX3" fmla="*/ 920750 w 4579938"/>
              <a:gd name="connsiteY3" fmla="*/ 6835776 h 6858001"/>
              <a:gd name="connsiteX4" fmla="*/ 1368425 w 4579938"/>
              <a:gd name="connsiteY4" fmla="*/ 6578601 h 6858001"/>
              <a:gd name="connsiteX5" fmla="*/ 1368425 w 4579938"/>
              <a:gd name="connsiteY5" fmla="*/ 6321426 h 6858001"/>
              <a:gd name="connsiteX6" fmla="*/ 1368425 w 4579938"/>
              <a:gd name="connsiteY6" fmla="*/ 6062664 h 6858001"/>
              <a:gd name="connsiteX7" fmla="*/ 465138 w 4579938"/>
              <a:gd name="connsiteY7" fmla="*/ 5016501 h 6858001"/>
              <a:gd name="connsiteX8" fmla="*/ 19050 w 4579938"/>
              <a:gd name="connsiteY8" fmla="*/ 5273676 h 6858001"/>
              <a:gd name="connsiteX9" fmla="*/ 19050 w 4579938"/>
              <a:gd name="connsiteY9" fmla="*/ 5448301 h 6858001"/>
              <a:gd name="connsiteX10" fmla="*/ 19050 w 4579938"/>
              <a:gd name="connsiteY10" fmla="*/ 5789614 h 6858001"/>
              <a:gd name="connsiteX11" fmla="*/ 465138 w 4579938"/>
              <a:gd name="connsiteY11" fmla="*/ 6048376 h 6858001"/>
              <a:gd name="connsiteX12" fmla="*/ 912813 w 4579938"/>
              <a:gd name="connsiteY12" fmla="*/ 5789614 h 6858001"/>
              <a:gd name="connsiteX13" fmla="*/ 912813 w 4579938"/>
              <a:gd name="connsiteY13" fmla="*/ 5495926 h 6858001"/>
              <a:gd name="connsiteX14" fmla="*/ 912813 w 4579938"/>
              <a:gd name="connsiteY14" fmla="*/ 5273676 h 6858001"/>
              <a:gd name="connsiteX15" fmla="*/ 465138 w 4579938"/>
              <a:gd name="connsiteY15" fmla="*/ 4994276 h 6858001"/>
              <a:gd name="connsiteX16" fmla="*/ 919163 w 4579938"/>
              <a:gd name="connsiteY16" fmla="*/ 5257801 h 6858001"/>
              <a:gd name="connsiteX17" fmla="*/ 930275 w 4579938"/>
              <a:gd name="connsiteY17" fmla="*/ 5264151 h 6858001"/>
              <a:gd name="connsiteX18" fmla="*/ 930275 w 4579938"/>
              <a:gd name="connsiteY18" fmla="*/ 5495926 h 6858001"/>
              <a:gd name="connsiteX19" fmla="*/ 930275 w 4579938"/>
              <a:gd name="connsiteY19" fmla="*/ 5789614 h 6858001"/>
              <a:gd name="connsiteX20" fmla="*/ 1385888 w 4579938"/>
              <a:gd name="connsiteY20" fmla="*/ 6053139 h 6858001"/>
              <a:gd name="connsiteX21" fmla="*/ 1385888 w 4579938"/>
              <a:gd name="connsiteY21" fmla="*/ 6321426 h 6858001"/>
              <a:gd name="connsiteX22" fmla="*/ 1385888 w 4579938"/>
              <a:gd name="connsiteY22" fmla="*/ 6589714 h 6858001"/>
              <a:gd name="connsiteX23" fmla="*/ 920750 w 4579938"/>
              <a:gd name="connsiteY23" fmla="*/ 6858001 h 6858001"/>
              <a:gd name="connsiteX24" fmla="*/ 455613 w 4579938"/>
              <a:gd name="connsiteY24" fmla="*/ 6589714 h 6858001"/>
              <a:gd name="connsiteX25" fmla="*/ 455613 w 4579938"/>
              <a:gd name="connsiteY25" fmla="*/ 6064251 h 6858001"/>
              <a:gd name="connsiteX26" fmla="*/ 0 w 4579938"/>
              <a:gd name="connsiteY26" fmla="*/ 5800726 h 6858001"/>
              <a:gd name="connsiteX27" fmla="*/ 0 w 4579938"/>
              <a:gd name="connsiteY27" fmla="*/ 5448301 h 6858001"/>
              <a:gd name="connsiteX28" fmla="*/ 0 w 4579938"/>
              <a:gd name="connsiteY28" fmla="*/ 5264151 h 6858001"/>
              <a:gd name="connsiteX29" fmla="*/ 1376363 w 4579938"/>
              <a:gd name="connsiteY29" fmla="*/ 3438526 h 6858001"/>
              <a:gd name="connsiteX30" fmla="*/ 930275 w 4579938"/>
              <a:gd name="connsiteY30" fmla="*/ 3695701 h 6858001"/>
              <a:gd name="connsiteX31" fmla="*/ 930275 w 4579938"/>
              <a:gd name="connsiteY31" fmla="*/ 3916363 h 6858001"/>
              <a:gd name="connsiteX32" fmla="*/ 930275 w 4579938"/>
              <a:gd name="connsiteY32" fmla="*/ 4213226 h 6858001"/>
              <a:gd name="connsiteX33" fmla="*/ 1376363 w 4579938"/>
              <a:gd name="connsiteY33" fmla="*/ 4470401 h 6858001"/>
              <a:gd name="connsiteX34" fmla="*/ 1825625 w 4579938"/>
              <a:gd name="connsiteY34" fmla="*/ 4213226 h 6858001"/>
              <a:gd name="connsiteX35" fmla="*/ 1825625 w 4579938"/>
              <a:gd name="connsiteY35" fmla="*/ 3695701 h 6858001"/>
              <a:gd name="connsiteX36" fmla="*/ 1587500 w 4579938"/>
              <a:gd name="connsiteY36" fmla="*/ 3559176 h 6858001"/>
              <a:gd name="connsiteX37" fmla="*/ 1835150 w 4579938"/>
              <a:gd name="connsiteY37" fmla="*/ 2649538 h 6858001"/>
              <a:gd name="connsiteX38" fmla="*/ 1385888 w 4579938"/>
              <a:gd name="connsiteY38" fmla="*/ 2908301 h 6858001"/>
              <a:gd name="connsiteX39" fmla="*/ 1385888 w 4579938"/>
              <a:gd name="connsiteY39" fmla="*/ 3114676 h 6858001"/>
              <a:gd name="connsiteX40" fmla="*/ 1385888 w 4579938"/>
              <a:gd name="connsiteY40" fmla="*/ 3422651 h 6858001"/>
              <a:gd name="connsiteX41" fmla="*/ 1622425 w 4579938"/>
              <a:gd name="connsiteY41" fmla="*/ 3559176 h 6858001"/>
              <a:gd name="connsiteX42" fmla="*/ 1835150 w 4579938"/>
              <a:gd name="connsiteY42" fmla="*/ 3683001 h 6858001"/>
              <a:gd name="connsiteX43" fmla="*/ 2047875 w 4579938"/>
              <a:gd name="connsiteY43" fmla="*/ 3559176 h 6858001"/>
              <a:gd name="connsiteX44" fmla="*/ 2281238 w 4579938"/>
              <a:gd name="connsiteY44" fmla="*/ 3424238 h 6858001"/>
              <a:gd name="connsiteX45" fmla="*/ 2281238 w 4579938"/>
              <a:gd name="connsiteY45" fmla="*/ 2908301 h 6858001"/>
              <a:gd name="connsiteX46" fmla="*/ 1835150 w 4579938"/>
              <a:gd name="connsiteY46" fmla="*/ 2628901 h 6858001"/>
              <a:gd name="connsiteX47" fmla="*/ 2074863 w 4579938"/>
              <a:gd name="connsiteY47" fmla="*/ 2768601 h 6858001"/>
              <a:gd name="connsiteX48" fmla="*/ 2298700 w 4579938"/>
              <a:gd name="connsiteY48" fmla="*/ 2897188 h 6858001"/>
              <a:gd name="connsiteX49" fmla="*/ 2298700 w 4579938"/>
              <a:gd name="connsiteY49" fmla="*/ 3433763 h 6858001"/>
              <a:gd name="connsiteX50" fmla="*/ 2079625 w 4579938"/>
              <a:gd name="connsiteY50" fmla="*/ 3559176 h 6858001"/>
              <a:gd name="connsiteX51" fmla="*/ 1843088 w 4579938"/>
              <a:gd name="connsiteY51" fmla="*/ 3695701 h 6858001"/>
              <a:gd name="connsiteX52" fmla="*/ 1843088 w 4579938"/>
              <a:gd name="connsiteY52" fmla="*/ 4222751 h 6858001"/>
              <a:gd name="connsiteX53" fmla="*/ 1376363 w 4579938"/>
              <a:gd name="connsiteY53" fmla="*/ 4489451 h 6858001"/>
              <a:gd name="connsiteX54" fmla="*/ 919163 w 4579938"/>
              <a:gd name="connsiteY54" fmla="*/ 4227513 h 6858001"/>
              <a:gd name="connsiteX55" fmla="*/ 912813 w 4579938"/>
              <a:gd name="connsiteY55" fmla="*/ 4222751 h 6858001"/>
              <a:gd name="connsiteX56" fmla="*/ 912813 w 4579938"/>
              <a:gd name="connsiteY56" fmla="*/ 3916363 h 6858001"/>
              <a:gd name="connsiteX57" fmla="*/ 912813 w 4579938"/>
              <a:gd name="connsiteY57" fmla="*/ 3686176 h 6858001"/>
              <a:gd name="connsiteX58" fmla="*/ 1368425 w 4579938"/>
              <a:gd name="connsiteY58" fmla="*/ 3422651 h 6858001"/>
              <a:gd name="connsiteX59" fmla="*/ 1368425 w 4579938"/>
              <a:gd name="connsiteY59" fmla="*/ 3114676 h 6858001"/>
              <a:gd name="connsiteX60" fmla="*/ 1368425 w 4579938"/>
              <a:gd name="connsiteY60" fmla="*/ 2897188 h 6858001"/>
              <a:gd name="connsiteX61" fmla="*/ 3201988 w 4579938"/>
              <a:gd name="connsiteY61" fmla="*/ 1862138 h 6858001"/>
              <a:gd name="connsiteX62" fmla="*/ 2754313 w 4579938"/>
              <a:gd name="connsiteY62" fmla="*/ 2119313 h 6858001"/>
              <a:gd name="connsiteX63" fmla="*/ 2754313 w 4579938"/>
              <a:gd name="connsiteY63" fmla="*/ 2635251 h 6858001"/>
              <a:gd name="connsiteX64" fmla="*/ 3201988 w 4579938"/>
              <a:gd name="connsiteY64" fmla="*/ 2892426 h 6858001"/>
              <a:gd name="connsiteX65" fmla="*/ 3648075 w 4579938"/>
              <a:gd name="connsiteY65" fmla="*/ 2635251 h 6858001"/>
              <a:gd name="connsiteX66" fmla="*/ 3648075 w 4579938"/>
              <a:gd name="connsiteY66" fmla="*/ 2327275 h 6858001"/>
              <a:gd name="connsiteX67" fmla="*/ 3648075 w 4579938"/>
              <a:gd name="connsiteY67" fmla="*/ 2117725 h 6858001"/>
              <a:gd name="connsiteX68" fmla="*/ 2746375 w 4579938"/>
              <a:gd name="connsiteY68" fmla="*/ 1071563 h 6858001"/>
              <a:gd name="connsiteX69" fmla="*/ 2298700 w 4579938"/>
              <a:gd name="connsiteY69" fmla="*/ 1330325 h 6858001"/>
              <a:gd name="connsiteX70" fmla="*/ 2298700 w 4579938"/>
              <a:gd name="connsiteY70" fmla="*/ 1524000 h 6858001"/>
              <a:gd name="connsiteX71" fmla="*/ 2298700 w 4579938"/>
              <a:gd name="connsiteY71" fmla="*/ 1846263 h 6858001"/>
              <a:gd name="connsiteX72" fmla="*/ 2746375 w 4579938"/>
              <a:gd name="connsiteY72" fmla="*/ 2105025 h 6858001"/>
              <a:gd name="connsiteX73" fmla="*/ 3192463 w 4579938"/>
              <a:gd name="connsiteY73" fmla="*/ 1846263 h 6858001"/>
              <a:gd name="connsiteX74" fmla="*/ 3192463 w 4579938"/>
              <a:gd name="connsiteY74" fmla="*/ 1330325 h 6858001"/>
              <a:gd name="connsiteX75" fmla="*/ 1831975 w 4579938"/>
              <a:gd name="connsiteY75" fmla="*/ 1071563 h 6858001"/>
              <a:gd name="connsiteX76" fmla="*/ 1385888 w 4579938"/>
              <a:gd name="connsiteY76" fmla="*/ 1330325 h 6858001"/>
              <a:gd name="connsiteX77" fmla="*/ 1385888 w 4579938"/>
              <a:gd name="connsiteY77" fmla="*/ 1524000 h 6858001"/>
              <a:gd name="connsiteX78" fmla="*/ 1385888 w 4579938"/>
              <a:gd name="connsiteY78" fmla="*/ 1846263 h 6858001"/>
              <a:gd name="connsiteX79" fmla="*/ 1835150 w 4579938"/>
              <a:gd name="connsiteY79" fmla="*/ 2105025 h 6858001"/>
              <a:gd name="connsiteX80" fmla="*/ 2281238 w 4579938"/>
              <a:gd name="connsiteY80" fmla="*/ 1846263 h 6858001"/>
              <a:gd name="connsiteX81" fmla="*/ 2281238 w 4579938"/>
              <a:gd name="connsiteY81" fmla="*/ 1524000 h 6858001"/>
              <a:gd name="connsiteX82" fmla="*/ 2281238 w 4579938"/>
              <a:gd name="connsiteY82" fmla="*/ 1330325 h 6858001"/>
              <a:gd name="connsiteX83" fmla="*/ 920750 w 4579938"/>
              <a:gd name="connsiteY83" fmla="*/ 1071563 h 6858001"/>
              <a:gd name="connsiteX84" fmla="*/ 474663 w 4579938"/>
              <a:gd name="connsiteY84" fmla="*/ 1330325 h 6858001"/>
              <a:gd name="connsiteX85" fmla="*/ 474663 w 4579938"/>
              <a:gd name="connsiteY85" fmla="*/ 1524000 h 6858001"/>
              <a:gd name="connsiteX86" fmla="*/ 474663 w 4579938"/>
              <a:gd name="connsiteY86" fmla="*/ 1846263 h 6858001"/>
              <a:gd name="connsiteX87" fmla="*/ 920750 w 4579938"/>
              <a:gd name="connsiteY87" fmla="*/ 2105025 h 6858001"/>
              <a:gd name="connsiteX88" fmla="*/ 1368425 w 4579938"/>
              <a:gd name="connsiteY88" fmla="*/ 1846263 h 6858001"/>
              <a:gd name="connsiteX89" fmla="*/ 1368425 w 4579938"/>
              <a:gd name="connsiteY89" fmla="*/ 1524000 h 6858001"/>
              <a:gd name="connsiteX90" fmla="*/ 1368425 w 4579938"/>
              <a:gd name="connsiteY90" fmla="*/ 1330325 h 6858001"/>
              <a:gd name="connsiteX91" fmla="*/ 4113213 w 4579938"/>
              <a:gd name="connsiteY91" fmla="*/ 284163 h 6858001"/>
              <a:gd name="connsiteX92" fmla="*/ 3665538 w 4579938"/>
              <a:gd name="connsiteY92" fmla="*/ 542925 h 6858001"/>
              <a:gd name="connsiteX93" fmla="*/ 3665538 w 4579938"/>
              <a:gd name="connsiteY93" fmla="*/ 1058863 h 6858001"/>
              <a:gd name="connsiteX94" fmla="*/ 4113213 w 4579938"/>
              <a:gd name="connsiteY94" fmla="*/ 1316038 h 6858001"/>
              <a:gd name="connsiteX95" fmla="*/ 4560888 w 4579938"/>
              <a:gd name="connsiteY95" fmla="*/ 1058863 h 6858001"/>
              <a:gd name="connsiteX96" fmla="*/ 4560888 w 4579938"/>
              <a:gd name="connsiteY96" fmla="*/ 800100 h 6858001"/>
              <a:gd name="connsiteX97" fmla="*/ 4560888 w 4579938"/>
              <a:gd name="connsiteY97" fmla="*/ 542925 h 6858001"/>
              <a:gd name="connsiteX98" fmla="*/ 2287588 w 4579938"/>
              <a:gd name="connsiteY98" fmla="*/ 284163 h 6858001"/>
              <a:gd name="connsiteX99" fmla="*/ 1843088 w 4579938"/>
              <a:gd name="connsiteY99" fmla="*/ 542925 h 6858001"/>
              <a:gd name="connsiteX100" fmla="*/ 1843088 w 4579938"/>
              <a:gd name="connsiteY100" fmla="*/ 800100 h 6858001"/>
              <a:gd name="connsiteX101" fmla="*/ 1843088 w 4579938"/>
              <a:gd name="connsiteY101" fmla="*/ 1057275 h 6858001"/>
              <a:gd name="connsiteX102" fmla="*/ 2290763 w 4579938"/>
              <a:gd name="connsiteY102" fmla="*/ 1314450 h 6858001"/>
              <a:gd name="connsiteX103" fmla="*/ 2736850 w 4579938"/>
              <a:gd name="connsiteY103" fmla="*/ 1057275 h 6858001"/>
              <a:gd name="connsiteX104" fmla="*/ 2736850 w 4579938"/>
              <a:gd name="connsiteY104" fmla="*/ 723900 h 6858001"/>
              <a:gd name="connsiteX105" fmla="*/ 2736850 w 4579938"/>
              <a:gd name="connsiteY105" fmla="*/ 542925 h 6858001"/>
              <a:gd name="connsiteX106" fmla="*/ 4113213 w 4579938"/>
              <a:gd name="connsiteY106" fmla="*/ 263525 h 6858001"/>
              <a:gd name="connsiteX107" fmla="*/ 4579938 w 4579938"/>
              <a:gd name="connsiteY107" fmla="*/ 531813 h 6858001"/>
              <a:gd name="connsiteX108" fmla="*/ 4579938 w 4579938"/>
              <a:gd name="connsiteY108" fmla="*/ 800100 h 6858001"/>
              <a:gd name="connsiteX109" fmla="*/ 4579938 w 4579938"/>
              <a:gd name="connsiteY109" fmla="*/ 1066800 h 6858001"/>
              <a:gd name="connsiteX110" fmla="*/ 4113213 w 4579938"/>
              <a:gd name="connsiteY110" fmla="*/ 1336675 h 6858001"/>
              <a:gd name="connsiteX111" fmla="*/ 3648075 w 4579938"/>
              <a:gd name="connsiteY111" fmla="*/ 1066800 h 6858001"/>
              <a:gd name="connsiteX112" fmla="*/ 3648075 w 4579938"/>
              <a:gd name="connsiteY112" fmla="*/ 723900 h 6858001"/>
              <a:gd name="connsiteX113" fmla="*/ 3648075 w 4579938"/>
              <a:gd name="connsiteY113" fmla="*/ 531813 h 6858001"/>
              <a:gd name="connsiteX114" fmla="*/ 2281238 w 4579938"/>
              <a:gd name="connsiteY114" fmla="*/ 0 h 6858001"/>
              <a:gd name="connsiteX115" fmla="*/ 2298700 w 4579938"/>
              <a:gd name="connsiteY115" fmla="*/ 0 h 6858001"/>
              <a:gd name="connsiteX116" fmla="*/ 2298700 w 4579938"/>
              <a:gd name="connsiteY116" fmla="*/ 268288 h 6858001"/>
              <a:gd name="connsiteX117" fmla="*/ 2746375 w 4579938"/>
              <a:gd name="connsiteY117" fmla="*/ 525463 h 6858001"/>
              <a:gd name="connsiteX118" fmla="*/ 3192463 w 4579938"/>
              <a:gd name="connsiteY118" fmla="*/ 268288 h 6858001"/>
              <a:gd name="connsiteX119" fmla="*/ 3192463 w 4579938"/>
              <a:gd name="connsiteY119" fmla="*/ 0 h 6858001"/>
              <a:gd name="connsiteX120" fmla="*/ 3211513 w 4579938"/>
              <a:gd name="connsiteY120" fmla="*/ 0 h 6858001"/>
              <a:gd name="connsiteX121" fmla="*/ 3211513 w 4579938"/>
              <a:gd name="connsiteY121" fmla="*/ 279400 h 6858001"/>
              <a:gd name="connsiteX122" fmla="*/ 2754313 w 4579938"/>
              <a:gd name="connsiteY122" fmla="*/ 542925 h 6858001"/>
              <a:gd name="connsiteX123" fmla="*/ 2754313 w 4579938"/>
              <a:gd name="connsiteY123" fmla="*/ 723900 h 6858001"/>
              <a:gd name="connsiteX124" fmla="*/ 2754313 w 4579938"/>
              <a:gd name="connsiteY124" fmla="*/ 1057275 h 6858001"/>
              <a:gd name="connsiteX125" fmla="*/ 3211513 w 4579938"/>
              <a:gd name="connsiteY125" fmla="*/ 1319213 h 6858001"/>
              <a:gd name="connsiteX126" fmla="*/ 3211513 w 4579938"/>
              <a:gd name="connsiteY126" fmla="*/ 1846263 h 6858001"/>
              <a:gd name="connsiteX127" fmla="*/ 3665538 w 4579938"/>
              <a:gd name="connsiteY127" fmla="*/ 2109788 h 6858001"/>
              <a:gd name="connsiteX128" fmla="*/ 3665538 w 4579938"/>
              <a:gd name="connsiteY128" fmla="*/ 2327275 h 6858001"/>
              <a:gd name="connsiteX129" fmla="*/ 3665538 w 4579938"/>
              <a:gd name="connsiteY129" fmla="*/ 2644776 h 6858001"/>
              <a:gd name="connsiteX130" fmla="*/ 3201988 w 4579938"/>
              <a:gd name="connsiteY130" fmla="*/ 2914651 h 6858001"/>
              <a:gd name="connsiteX131" fmla="*/ 2949575 w 4579938"/>
              <a:gd name="connsiteY131" fmla="*/ 2768601 h 6858001"/>
              <a:gd name="connsiteX132" fmla="*/ 2736850 w 4579938"/>
              <a:gd name="connsiteY132" fmla="*/ 2644776 h 6858001"/>
              <a:gd name="connsiteX133" fmla="*/ 2736850 w 4579938"/>
              <a:gd name="connsiteY133" fmla="*/ 2119313 h 6858001"/>
              <a:gd name="connsiteX134" fmla="*/ 2290763 w 4579938"/>
              <a:gd name="connsiteY134" fmla="*/ 1862138 h 6858001"/>
              <a:gd name="connsiteX135" fmla="*/ 1835150 w 4579938"/>
              <a:gd name="connsiteY135" fmla="*/ 2125663 h 6858001"/>
              <a:gd name="connsiteX136" fmla="*/ 1376363 w 4579938"/>
              <a:gd name="connsiteY136" fmla="*/ 1862138 h 6858001"/>
              <a:gd name="connsiteX137" fmla="*/ 920750 w 4579938"/>
              <a:gd name="connsiteY137" fmla="*/ 2125663 h 6858001"/>
              <a:gd name="connsiteX138" fmla="*/ 455613 w 4579938"/>
              <a:gd name="connsiteY138" fmla="*/ 1857375 h 6858001"/>
              <a:gd name="connsiteX139" fmla="*/ 455613 w 4579938"/>
              <a:gd name="connsiteY139" fmla="*/ 1524000 h 6858001"/>
              <a:gd name="connsiteX140" fmla="*/ 455613 w 4579938"/>
              <a:gd name="connsiteY140" fmla="*/ 1319213 h 6858001"/>
              <a:gd name="connsiteX141" fmla="*/ 920750 w 4579938"/>
              <a:gd name="connsiteY141" fmla="*/ 1052513 h 6858001"/>
              <a:gd name="connsiteX142" fmla="*/ 1376363 w 4579938"/>
              <a:gd name="connsiteY142" fmla="*/ 1314450 h 6858001"/>
              <a:gd name="connsiteX143" fmla="*/ 1825625 w 4579938"/>
              <a:gd name="connsiteY143" fmla="*/ 1057275 h 6858001"/>
              <a:gd name="connsiteX144" fmla="*/ 1825625 w 4579938"/>
              <a:gd name="connsiteY144" fmla="*/ 800100 h 6858001"/>
              <a:gd name="connsiteX145" fmla="*/ 1825625 w 4579938"/>
              <a:gd name="connsiteY145" fmla="*/ 531813 h 6858001"/>
              <a:gd name="connsiteX146" fmla="*/ 2281238 w 4579938"/>
              <a:gd name="connsiteY146" fmla="*/ 268288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</a:cxnLst>
            <a:rect l="l" t="t" r="r" b="b"/>
            <a:pathLst>
              <a:path w="4579938" h="6858001">
                <a:moveTo>
                  <a:pt x="922338" y="5805489"/>
                </a:moveTo>
                <a:lnTo>
                  <a:pt x="474663" y="6064251"/>
                </a:lnTo>
                <a:lnTo>
                  <a:pt x="474663" y="6578601"/>
                </a:lnTo>
                <a:lnTo>
                  <a:pt x="920750" y="6835776"/>
                </a:lnTo>
                <a:lnTo>
                  <a:pt x="1368425" y="6578601"/>
                </a:lnTo>
                <a:lnTo>
                  <a:pt x="1368425" y="6321426"/>
                </a:lnTo>
                <a:lnTo>
                  <a:pt x="1368425" y="6062664"/>
                </a:lnTo>
                <a:close/>
                <a:moveTo>
                  <a:pt x="465138" y="5016501"/>
                </a:moveTo>
                <a:lnTo>
                  <a:pt x="19050" y="5273676"/>
                </a:lnTo>
                <a:lnTo>
                  <a:pt x="19050" y="5448301"/>
                </a:lnTo>
                <a:lnTo>
                  <a:pt x="19050" y="5789614"/>
                </a:lnTo>
                <a:lnTo>
                  <a:pt x="465138" y="6048376"/>
                </a:lnTo>
                <a:lnTo>
                  <a:pt x="912813" y="5789614"/>
                </a:lnTo>
                <a:lnTo>
                  <a:pt x="912813" y="5495926"/>
                </a:lnTo>
                <a:lnTo>
                  <a:pt x="912813" y="5273676"/>
                </a:lnTo>
                <a:close/>
                <a:moveTo>
                  <a:pt x="465138" y="4994276"/>
                </a:moveTo>
                <a:lnTo>
                  <a:pt x="919163" y="5257801"/>
                </a:lnTo>
                <a:lnTo>
                  <a:pt x="930275" y="5264151"/>
                </a:lnTo>
                <a:lnTo>
                  <a:pt x="930275" y="5495926"/>
                </a:lnTo>
                <a:lnTo>
                  <a:pt x="930275" y="5789614"/>
                </a:lnTo>
                <a:lnTo>
                  <a:pt x="1385888" y="6053139"/>
                </a:lnTo>
                <a:lnTo>
                  <a:pt x="1385888" y="6321426"/>
                </a:lnTo>
                <a:lnTo>
                  <a:pt x="1385888" y="6589714"/>
                </a:lnTo>
                <a:lnTo>
                  <a:pt x="920750" y="6858001"/>
                </a:lnTo>
                <a:lnTo>
                  <a:pt x="455613" y="6589714"/>
                </a:lnTo>
                <a:lnTo>
                  <a:pt x="455613" y="6064251"/>
                </a:lnTo>
                <a:lnTo>
                  <a:pt x="0" y="5800726"/>
                </a:lnTo>
                <a:lnTo>
                  <a:pt x="0" y="5448301"/>
                </a:lnTo>
                <a:lnTo>
                  <a:pt x="0" y="5264151"/>
                </a:lnTo>
                <a:close/>
                <a:moveTo>
                  <a:pt x="1376363" y="3438526"/>
                </a:moveTo>
                <a:lnTo>
                  <a:pt x="930275" y="3695701"/>
                </a:lnTo>
                <a:lnTo>
                  <a:pt x="930275" y="3916363"/>
                </a:lnTo>
                <a:lnTo>
                  <a:pt x="930275" y="4213226"/>
                </a:lnTo>
                <a:lnTo>
                  <a:pt x="1376363" y="4470401"/>
                </a:lnTo>
                <a:lnTo>
                  <a:pt x="1825625" y="4213226"/>
                </a:lnTo>
                <a:lnTo>
                  <a:pt x="1825625" y="3695701"/>
                </a:lnTo>
                <a:lnTo>
                  <a:pt x="1587500" y="3559176"/>
                </a:lnTo>
                <a:close/>
                <a:moveTo>
                  <a:pt x="1835150" y="2649538"/>
                </a:moveTo>
                <a:lnTo>
                  <a:pt x="1385888" y="2908301"/>
                </a:lnTo>
                <a:lnTo>
                  <a:pt x="1385888" y="3114676"/>
                </a:lnTo>
                <a:lnTo>
                  <a:pt x="1385888" y="3422651"/>
                </a:lnTo>
                <a:lnTo>
                  <a:pt x="1622425" y="3559176"/>
                </a:lnTo>
                <a:lnTo>
                  <a:pt x="1835150" y="3683001"/>
                </a:lnTo>
                <a:lnTo>
                  <a:pt x="2047875" y="3559176"/>
                </a:lnTo>
                <a:lnTo>
                  <a:pt x="2281238" y="3424238"/>
                </a:lnTo>
                <a:lnTo>
                  <a:pt x="2281238" y="2908301"/>
                </a:lnTo>
                <a:close/>
                <a:moveTo>
                  <a:pt x="1835150" y="2628901"/>
                </a:moveTo>
                <a:lnTo>
                  <a:pt x="2074863" y="2768601"/>
                </a:lnTo>
                <a:lnTo>
                  <a:pt x="2298700" y="2897188"/>
                </a:lnTo>
                <a:lnTo>
                  <a:pt x="2298700" y="3433763"/>
                </a:lnTo>
                <a:lnTo>
                  <a:pt x="2079625" y="3559176"/>
                </a:lnTo>
                <a:lnTo>
                  <a:pt x="1843088" y="3695701"/>
                </a:lnTo>
                <a:lnTo>
                  <a:pt x="1843088" y="4222751"/>
                </a:lnTo>
                <a:lnTo>
                  <a:pt x="1376363" y="4489451"/>
                </a:lnTo>
                <a:lnTo>
                  <a:pt x="919163" y="4227513"/>
                </a:lnTo>
                <a:lnTo>
                  <a:pt x="912813" y="4222751"/>
                </a:lnTo>
                <a:lnTo>
                  <a:pt x="912813" y="3916363"/>
                </a:lnTo>
                <a:lnTo>
                  <a:pt x="912813" y="3686176"/>
                </a:lnTo>
                <a:lnTo>
                  <a:pt x="1368425" y="3422651"/>
                </a:lnTo>
                <a:lnTo>
                  <a:pt x="1368425" y="3114676"/>
                </a:lnTo>
                <a:lnTo>
                  <a:pt x="1368425" y="2897188"/>
                </a:lnTo>
                <a:close/>
                <a:moveTo>
                  <a:pt x="3201988" y="1862138"/>
                </a:moveTo>
                <a:lnTo>
                  <a:pt x="2754313" y="2119313"/>
                </a:lnTo>
                <a:lnTo>
                  <a:pt x="2754313" y="2635251"/>
                </a:lnTo>
                <a:lnTo>
                  <a:pt x="3201988" y="2892426"/>
                </a:lnTo>
                <a:lnTo>
                  <a:pt x="3648075" y="2635251"/>
                </a:lnTo>
                <a:lnTo>
                  <a:pt x="3648075" y="2327275"/>
                </a:lnTo>
                <a:lnTo>
                  <a:pt x="3648075" y="2117725"/>
                </a:lnTo>
                <a:close/>
                <a:moveTo>
                  <a:pt x="2746375" y="1071563"/>
                </a:moveTo>
                <a:lnTo>
                  <a:pt x="2298700" y="1330325"/>
                </a:lnTo>
                <a:lnTo>
                  <a:pt x="2298700" y="1524000"/>
                </a:lnTo>
                <a:lnTo>
                  <a:pt x="2298700" y="1846263"/>
                </a:lnTo>
                <a:lnTo>
                  <a:pt x="2746375" y="2105025"/>
                </a:lnTo>
                <a:lnTo>
                  <a:pt x="3192463" y="1846263"/>
                </a:lnTo>
                <a:lnTo>
                  <a:pt x="3192463" y="1330325"/>
                </a:lnTo>
                <a:close/>
                <a:moveTo>
                  <a:pt x="1831975" y="1071563"/>
                </a:moveTo>
                <a:lnTo>
                  <a:pt x="1385888" y="1330325"/>
                </a:lnTo>
                <a:lnTo>
                  <a:pt x="1385888" y="1524000"/>
                </a:lnTo>
                <a:lnTo>
                  <a:pt x="1385888" y="1846263"/>
                </a:lnTo>
                <a:lnTo>
                  <a:pt x="1835150" y="2105025"/>
                </a:lnTo>
                <a:lnTo>
                  <a:pt x="2281238" y="1846263"/>
                </a:lnTo>
                <a:lnTo>
                  <a:pt x="2281238" y="1524000"/>
                </a:lnTo>
                <a:lnTo>
                  <a:pt x="2281238" y="1330325"/>
                </a:lnTo>
                <a:close/>
                <a:moveTo>
                  <a:pt x="920750" y="1071563"/>
                </a:moveTo>
                <a:lnTo>
                  <a:pt x="474663" y="1330325"/>
                </a:lnTo>
                <a:lnTo>
                  <a:pt x="474663" y="1524000"/>
                </a:lnTo>
                <a:lnTo>
                  <a:pt x="474663" y="1846263"/>
                </a:lnTo>
                <a:lnTo>
                  <a:pt x="920750" y="2105025"/>
                </a:lnTo>
                <a:lnTo>
                  <a:pt x="1368425" y="1846263"/>
                </a:lnTo>
                <a:lnTo>
                  <a:pt x="1368425" y="1524000"/>
                </a:lnTo>
                <a:lnTo>
                  <a:pt x="1368425" y="1330325"/>
                </a:lnTo>
                <a:close/>
                <a:moveTo>
                  <a:pt x="4113213" y="284163"/>
                </a:moveTo>
                <a:lnTo>
                  <a:pt x="3665538" y="542925"/>
                </a:lnTo>
                <a:lnTo>
                  <a:pt x="3665538" y="1058863"/>
                </a:lnTo>
                <a:lnTo>
                  <a:pt x="4113213" y="1316038"/>
                </a:lnTo>
                <a:lnTo>
                  <a:pt x="4560888" y="1058863"/>
                </a:lnTo>
                <a:lnTo>
                  <a:pt x="4560888" y="800100"/>
                </a:lnTo>
                <a:lnTo>
                  <a:pt x="4560888" y="542925"/>
                </a:lnTo>
                <a:close/>
                <a:moveTo>
                  <a:pt x="2287588" y="284163"/>
                </a:moveTo>
                <a:lnTo>
                  <a:pt x="1843088" y="542925"/>
                </a:lnTo>
                <a:lnTo>
                  <a:pt x="1843088" y="800100"/>
                </a:lnTo>
                <a:lnTo>
                  <a:pt x="1843088" y="1057275"/>
                </a:lnTo>
                <a:lnTo>
                  <a:pt x="2290763" y="1314450"/>
                </a:lnTo>
                <a:lnTo>
                  <a:pt x="2736850" y="1057275"/>
                </a:lnTo>
                <a:lnTo>
                  <a:pt x="2736850" y="723900"/>
                </a:lnTo>
                <a:lnTo>
                  <a:pt x="2736850" y="542925"/>
                </a:lnTo>
                <a:close/>
                <a:moveTo>
                  <a:pt x="4113213" y="263525"/>
                </a:moveTo>
                <a:lnTo>
                  <a:pt x="4579938" y="531813"/>
                </a:lnTo>
                <a:lnTo>
                  <a:pt x="4579938" y="800100"/>
                </a:lnTo>
                <a:lnTo>
                  <a:pt x="4579938" y="1066800"/>
                </a:lnTo>
                <a:lnTo>
                  <a:pt x="4113213" y="1336675"/>
                </a:lnTo>
                <a:lnTo>
                  <a:pt x="3648075" y="1066800"/>
                </a:lnTo>
                <a:lnTo>
                  <a:pt x="3648075" y="723900"/>
                </a:lnTo>
                <a:lnTo>
                  <a:pt x="3648075" y="531813"/>
                </a:lnTo>
                <a:close/>
                <a:moveTo>
                  <a:pt x="2281238" y="0"/>
                </a:moveTo>
                <a:lnTo>
                  <a:pt x="2298700" y="0"/>
                </a:lnTo>
                <a:lnTo>
                  <a:pt x="2298700" y="268288"/>
                </a:lnTo>
                <a:lnTo>
                  <a:pt x="2746375" y="525463"/>
                </a:lnTo>
                <a:lnTo>
                  <a:pt x="3192463" y="268288"/>
                </a:lnTo>
                <a:lnTo>
                  <a:pt x="3192463" y="0"/>
                </a:lnTo>
                <a:lnTo>
                  <a:pt x="3211513" y="0"/>
                </a:lnTo>
                <a:lnTo>
                  <a:pt x="3211513" y="279400"/>
                </a:lnTo>
                <a:lnTo>
                  <a:pt x="2754313" y="542925"/>
                </a:lnTo>
                <a:lnTo>
                  <a:pt x="2754313" y="723900"/>
                </a:lnTo>
                <a:lnTo>
                  <a:pt x="2754313" y="1057275"/>
                </a:lnTo>
                <a:lnTo>
                  <a:pt x="3211513" y="1319213"/>
                </a:lnTo>
                <a:lnTo>
                  <a:pt x="3211513" y="1846263"/>
                </a:lnTo>
                <a:lnTo>
                  <a:pt x="3665538" y="2109788"/>
                </a:lnTo>
                <a:lnTo>
                  <a:pt x="3665538" y="2327275"/>
                </a:lnTo>
                <a:lnTo>
                  <a:pt x="3665538" y="2644776"/>
                </a:lnTo>
                <a:lnTo>
                  <a:pt x="3201988" y="2914651"/>
                </a:lnTo>
                <a:lnTo>
                  <a:pt x="2949575" y="2768601"/>
                </a:lnTo>
                <a:lnTo>
                  <a:pt x="2736850" y="2644776"/>
                </a:lnTo>
                <a:lnTo>
                  <a:pt x="2736850" y="2119313"/>
                </a:lnTo>
                <a:lnTo>
                  <a:pt x="2290763" y="1862138"/>
                </a:lnTo>
                <a:lnTo>
                  <a:pt x="1835150" y="2125663"/>
                </a:lnTo>
                <a:lnTo>
                  <a:pt x="1376363" y="1862138"/>
                </a:lnTo>
                <a:lnTo>
                  <a:pt x="920750" y="2125663"/>
                </a:lnTo>
                <a:lnTo>
                  <a:pt x="455613" y="1857375"/>
                </a:lnTo>
                <a:lnTo>
                  <a:pt x="455613" y="1524000"/>
                </a:lnTo>
                <a:lnTo>
                  <a:pt x="455613" y="1319213"/>
                </a:lnTo>
                <a:lnTo>
                  <a:pt x="920750" y="1052513"/>
                </a:lnTo>
                <a:lnTo>
                  <a:pt x="1376363" y="1314450"/>
                </a:lnTo>
                <a:lnTo>
                  <a:pt x="1825625" y="1057275"/>
                </a:lnTo>
                <a:lnTo>
                  <a:pt x="1825625" y="800100"/>
                </a:lnTo>
                <a:lnTo>
                  <a:pt x="1825625" y="531813"/>
                </a:lnTo>
                <a:lnTo>
                  <a:pt x="2281238" y="26828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400">
                <a:noFill/>
              </a:defRPr>
            </a:lvl1pPr>
            <a:lvl2pPr marL="0" indent="0">
              <a:buNone/>
              <a:defRPr sz="400">
                <a:noFill/>
              </a:defRPr>
            </a:lvl2pPr>
            <a:lvl3pPr marL="0" indent="0">
              <a:buNone/>
              <a:defRPr sz="400">
                <a:noFill/>
              </a:defRPr>
            </a:lvl3pPr>
            <a:lvl4pPr marL="0" indent="0">
              <a:buFont typeface="Arial" panose="020B0604020202020204" pitchFamily="34" charset="0"/>
              <a:buNone/>
              <a:defRPr sz="400">
                <a:noFill/>
              </a:defRPr>
            </a:lvl4pPr>
            <a:lvl5pPr marL="0" indent="0">
              <a:buFont typeface="Arial" panose="020B0604020202020204" pitchFamily="34" charset="0"/>
              <a:buNone/>
              <a:defRPr sz="400">
                <a:noFill/>
              </a:defRPr>
            </a:lvl5pPr>
            <a:lvl6pPr marL="0" indent="0">
              <a:buFont typeface="Arial" panose="020B0604020202020204" pitchFamily="34" charset="0"/>
              <a:buNone/>
              <a:defRPr sz="400">
                <a:noFill/>
              </a:defRPr>
            </a:lvl6pPr>
            <a:lvl7pPr marL="0" indent="0">
              <a:buFont typeface="Arial" panose="020B0604020202020204" pitchFamily="34" charset="0"/>
              <a:buNone/>
              <a:defRPr sz="400">
                <a:noFill/>
              </a:defRPr>
            </a:lvl7pPr>
            <a:lvl8pPr marL="0" indent="0">
              <a:buFont typeface="Arial" panose="020B0604020202020204" pitchFamily="34" charset="0"/>
              <a:buNone/>
              <a:defRPr sz="400">
                <a:noFill/>
              </a:defRPr>
            </a:lvl8pPr>
            <a:lvl9pPr marL="0" indent="0">
              <a:buFont typeface="Arial" panose="020B0604020202020204" pitchFamily="34" charset="0"/>
              <a:buNone/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3AB573-6428-483C-9050-46F371919D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411" y="1828800"/>
            <a:ext cx="6123456" cy="4405312"/>
          </a:xfrm>
        </p:spPr>
        <p:txBody>
          <a:bodyPr/>
          <a:lstStyle>
            <a:lvl1pPr>
              <a:lnSpc>
                <a:spcPct val="105000"/>
              </a:lnSpc>
              <a:spcAft>
                <a:spcPts val="4800"/>
              </a:spcAft>
              <a:defRPr sz="210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Why Pollen Consulting Group? Being a fresh and new business, allows us to challenge the consultancy model, building a new level of competency. Pollen is driven to make a difference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93F30B-2234-4386-8925-1D9F19969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21584D-5BF5-48F5-A39B-236C26310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tac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129460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4211C9AD-36A8-46D9-B9B7-8C1D3684F8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6097" y="0"/>
            <a:ext cx="12192001" cy="685799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00">
                <a:noFill/>
              </a:defRPr>
            </a:lvl1pPr>
            <a:lvl2pPr marL="0" indent="0">
              <a:buFont typeface="Arial" panose="020B0604020202020204" pitchFamily="34" charset="0"/>
              <a:buNone/>
              <a:defRPr sz="400">
                <a:noFill/>
              </a:defRPr>
            </a:lvl2pPr>
            <a:lvl3pPr marL="0" indent="0">
              <a:buFont typeface="Arial" panose="020B0604020202020204" pitchFamily="34" charset="0"/>
              <a:buNone/>
              <a:defRPr sz="400">
                <a:noFill/>
              </a:defRPr>
            </a:lvl3pPr>
            <a:lvl4pPr marL="0" indent="0">
              <a:buFont typeface="Arial" panose="020B0604020202020204" pitchFamily="34" charset="0"/>
              <a:buNone/>
              <a:defRPr sz="400">
                <a:noFill/>
              </a:defRPr>
            </a:lvl4pPr>
            <a:lvl5pPr marL="0" indent="0">
              <a:buFont typeface="Arial" panose="020B0604020202020204" pitchFamily="34" charset="0"/>
              <a:buNone/>
              <a:defRPr sz="400">
                <a:noFill/>
              </a:defRPr>
            </a:lvl5pPr>
            <a:lvl6pPr marL="0" indent="0">
              <a:buFont typeface="Arial" panose="020B0604020202020204" pitchFamily="34" charset="0"/>
              <a:buNone/>
              <a:defRPr sz="400">
                <a:noFill/>
              </a:defRPr>
            </a:lvl6pPr>
            <a:lvl7pPr marL="0" indent="0">
              <a:buFont typeface="Arial" panose="020B0604020202020204" pitchFamily="34" charset="0"/>
              <a:buNone/>
              <a:defRPr sz="400">
                <a:noFill/>
              </a:defRPr>
            </a:lvl7pPr>
            <a:lvl8pPr marL="0" indent="0">
              <a:buFont typeface="Arial" panose="020B0604020202020204" pitchFamily="34" charset="0"/>
              <a:buNone/>
              <a:defRPr sz="400">
                <a:noFill/>
              </a:defRPr>
            </a:lvl8pPr>
            <a:lvl9pPr marL="0" indent="0">
              <a:buFont typeface="Arial" panose="020B0604020202020204" pitchFamily="34" charset="0"/>
              <a:buNone/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9114328-3CF6-431C-8B84-13CD5C404C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04872" y="1161733"/>
            <a:ext cx="7370064" cy="768350"/>
          </a:xfrm>
          <a:prstGeom prst="rect">
            <a:avLst/>
          </a:prstGeom>
        </p:spPr>
        <p:txBody>
          <a:bodyPr anchor="ctr"/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7" name="Marcador de texto 5">
            <a:extLst>
              <a:ext uri="{FF2B5EF4-FFF2-40B4-BE49-F238E27FC236}">
                <a16:creationId xmlns:a16="http://schemas.microsoft.com/office/drawing/2014/main" id="{405FCF0C-E9B4-4879-A17F-944B3182947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04872" y="1957515"/>
            <a:ext cx="7370064" cy="76835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AU" noProof="0" dirty="0"/>
              <a:t>Subtitle</a:t>
            </a:r>
          </a:p>
        </p:txBody>
      </p:sp>
      <p:sp>
        <p:nvSpPr>
          <p:cNvPr id="9" name="Marcador de texto 5">
            <a:extLst>
              <a:ext uri="{FF2B5EF4-FFF2-40B4-BE49-F238E27FC236}">
                <a16:creationId xmlns:a16="http://schemas.microsoft.com/office/drawing/2014/main" id="{811522DD-8859-4C8D-8215-265AA47F73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8323" y="2744419"/>
            <a:ext cx="2583162" cy="347397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AU" noProof="0" dirty="0"/>
              <a:t>Date</a:t>
            </a:r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44C1DD5E-5E99-4743-9CCB-35B4F2F5EB4C}"/>
              </a:ext>
            </a:extLst>
          </p:cNvPr>
          <p:cNvSpPr txBox="1"/>
          <p:nvPr userDrawn="1"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tx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F1A7D2CF-55BA-4CEF-982E-AD29C72FC2B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2333" y="6466199"/>
            <a:ext cx="198522" cy="21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8302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2">
            <a:extLst>
              <a:ext uri="{FF2B5EF4-FFF2-40B4-BE49-F238E27FC236}">
                <a16:creationId xmlns:a16="http://schemas.microsoft.com/office/drawing/2014/main" id="{4B5C8411-729F-400F-AF7A-312118C40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412" y="447252"/>
            <a:ext cx="9825361" cy="3428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 dirty="0" err="1"/>
              <a:t>Index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n-AU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3E495203-5C20-48B7-A539-4800C770D7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00819" y="1"/>
            <a:ext cx="4059395" cy="6078538"/>
          </a:xfrm>
          <a:custGeom>
            <a:avLst/>
            <a:gdLst>
              <a:gd name="connsiteX0" fmla="*/ 922338 w 4579938"/>
              <a:gd name="connsiteY0" fmla="*/ 5805489 h 6858001"/>
              <a:gd name="connsiteX1" fmla="*/ 474663 w 4579938"/>
              <a:gd name="connsiteY1" fmla="*/ 6064251 h 6858001"/>
              <a:gd name="connsiteX2" fmla="*/ 474663 w 4579938"/>
              <a:gd name="connsiteY2" fmla="*/ 6578601 h 6858001"/>
              <a:gd name="connsiteX3" fmla="*/ 920750 w 4579938"/>
              <a:gd name="connsiteY3" fmla="*/ 6835776 h 6858001"/>
              <a:gd name="connsiteX4" fmla="*/ 1368425 w 4579938"/>
              <a:gd name="connsiteY4" fmla="*/ 6578601 h 6858001"/>
              <a:gd name="connsiteX5" fmla="*/ 1368425 w 4579938"/>
              <a:gd name="connsiteY5" fmla="*/ 6321426 h 6858001"/>
              <a:gd name="connsiteX6" fmla="*/ 1368425 w 4579938"/>
              <a:gd name="connsiteY6" fmla="*/ 6062664 h 6858001"/>
              <a:gd name="connsiteX7" fmla="*/ 465138 w 4579938"/>
              <a:gd name="connsiteY7" fmla="*/ 5016501 h 6858001"/>
              <a:gd name="connsiteX8" fmla="*/ 19050 w 4579938"/>
              <a:gd name="connsiteY8" fmla="*/ 5273676 h 6858001"/>
              <a:gd name="connsiteX9" fmla="*/ 19050 w 4579938"/>
              <a:gd name="connsiteY9" fmla="*/ 5448301 h 6858001"/>
              <a:gd name="connsiteX10" fmla="*/ 19050 w 4579938"/>
              <a:gd name="connsiteY10" fmla="*/ 5789614 h 6858001"/>
              <a:gd name="connsiteX11" fmla="*/ 465138 w 4579938"/>
              <a:gd name="connsiteY11" fmla="*/ 6048376 h 6858001"/>
              <a:gd name="connsiteX12" fmla="*/ 912813 w 4579938"/>
              <a:gd name="connsiteY12" fmla="*/ 5789614 h 6858001"/>
              <a:gd name="connsiteX13" fmla="*/ 912813 w 4579938"/>
              <a:gd name="connsiteY13" fmla="*/ 5495926 h 6858001"/>
              <a:gd name="connsiteX14" fmla="*/ 912813 w 4579938"/>
              <a:gd name="connsiteY14" fmla="*/ 5273676 h 6858001"/>
              <a:gd name="connsiteX15" fmla="*/ 465138 w 4579938"/>
              <a:gd name="connsiteY15" fmla="*/ 4994276 h 6858001"/>
              <a:gd name="connsiteX16" fmla="*/ 919163 w 4579938"/>
              <a:gd name="connsiteY16" fmla="*/ 5257801 h 6858001"/>
              <a:gd name="connsiteX17" fmla="*/ 930275 w 4579938"/>
              <a:gd name="connsiteY17" fmla="*/ 5264151 h 6858001"/>
              <a:gd name="connsiteX18" fmla="*/ 930275 w 4579938"/>
              <a:gd name="connsiteY18" fmla="*/ 5495926 h 6858001"/>
              <a:gd name="connsiteX19" fmla="*/ 930275 w 4579938"/>
              <a:gd name="connsiteY19" fmla="*/ 5789614 h 6858001"/>
              <a:gd name="connsiteX20" fmla="*/ 1385888 w 4579938"/>
              <a:gd name="connsiteY20" fmla="*/ 6053139 h 6858001"/>
              <a:gd name="connsiteX21" fmla="*/ 1385888 w 4579938"/>
              <a:gd name="connsiteY21" fmla="*/ 6321426 h 6858001"/>
              <a:gd name="connsiteX22" fmla="*/ 1385888 w 4579938"/>
              <a:gd name="connsiteY22" fmla="*/ 6589714 h 6858001"/>
              <a:gd name="connsiteX23" fmla="*/ 920750 w 4579938"/>
              <a:gd name="connsiteY23" fmla="*/ 6858001 h 6858001"/>
              <a:gd name="connsiteX24" fmla="*/ 455613 w 4579938"/>
              <a:gd name="connsiteY24" fmla="*/ 6589714 h 6858001"/>
              <a:gd name="connsiteX25" fmla="*/ 455613 w 4579938"/>
              <a:gd name="connsiteY25" fmla="*/ 6064251 h 6858001"/>
              <a:gd name="connsiteX26" fmla="*/ 0 w 4579938"/>
              <a:gd name="connsiteY26" fmla="*/ 5800726 h 6858001"/>
              <a:gd name="connsiteX27" fmla="*/ 0 w 4579938"/>
              <a:gd name="connsiteY27" fmla="*/ 5448301 h 6858001"/>
              <a:gd name="connsiteX28" fmla="*/ 0 w 4579938"/>
              <a:gd name="connsiteY28" fmla="*/ 5264151 h 6858001"/>
              <a:gd name="connsiteX29" fmla="*/ 1376363 w 4579938"/>
              <a:gd name="connsiteY29" fmla="*/ 3438526 h 6858001"/>
              <a:gd name="connsiteX30" fmla="*/ 930275 w 4579938"/>
              <a:gd name="connsiteY30" fmla="*/ 3695701 h 6858001"/>
              <a:gd name="connsiteX31" fmla="*/ 930275 w 4579938"/>
              <a:gd name="connsiteY31" fmla="*/ 3916363 h 6858001"/>
              <a:gd name="connsiteX32" fmla="*/ 930275 w 4579938"/>
              <a:gd name="connsiteY32" fmla="*/ 4213226 h 6858001"/>
              <a:gd name="connsiteX33" fmla="*/ 1376363 w 4579938"/>
              <a:gd name="connsiteY33" fmla="*/ 4470401 h 6858001"/>
              <a:gd name="connsiteX34" fmla="*/ 1825625 w 4579938"/>
              <a:gd name="connsiteY34" fmla="*/ 4213226 h 6858001"/>
              <a:gd name="connsiteX35" fmla="*/ 1825625 w 4579938"/>
              <a:gd name="connsiteY35" fmla="*/ 3695701 h 6858001"/>
              <a:gd name="connsiteX36" fmla="*/ 1587500 w 4579938"/>
              <a:gd name="connsiteY36" fmla="*/ 3559176 h 6858001"/>
              <a:gd name="connsiteX37" fmla="*/ 1835150 w 4579938"/>
              <a:gd name="connsiteY37" fmla="*/ 2649538 h 6858001"/>
              <a:gd name="connsiteX38" fmla="*/ 1385888 w 4579938"/>
              <a:gd name="connsiteY38" fmla="*/ 2908301 h 6858001"/>
              <a:gd name="connsiteX39" fmla="*/ 1385888 w 4579938"/>
              <a:gd name="connsiteY39" fmla="*/ 3114676 h 6858001"/>
              <a:gd name="connsiteX40" fmla="*/ 1385888 w 4579938"/>
              <a:gd name="connsiteY40" fmla="*/ 3422651 h 6858001"/>
              <a:gd name="connsiteX41" fmla="*/ 1622425 w 4579938"/>
              <a:gd name="connsiteY41" fmla="*/ 3559176 h 6858001"/>
              <a:gd name="connsiteX42" fmla="*/ 1835150 w 4579938"/>
              <a:gd name="connsiteY42" fmla="*/ 3683001 h 6858001"/>
              <a:gd name="connsiteX43" fmla="*/ 2047875 w 4579938"/>
              <a:gd name="connsiteY43" fmla="*/ 3559176 h 6858001"/>
              <a:gd name="connsiteX44" fmla="*/ 2281238 w 4579938"/>
              <a:gd name="connsiteY44" fmla="*/ 3424238 h 6858001"/>
              <a:gd name="connsiteX45" fmla="*/ 2281238 w 4579938"/>
              <a:gd name="connsiteY45" fmla="*/ 2908301 h 6858001"/>
              <a:gd name="connsiteX46" fmla="*/ 1835150 w 4579938"/>
              <a:gd name="connsiteY46" fmla="*/ 2628901 h 6858001"/>
              <a:gd name="connsiteX47" fmla="*/ 2074863 w 4579938"/>
              <a:gd name="connsiteY47" fmla="*/ 2768601 h 6858001"/>
              <a:gd name="connsiteX48" fmla="*/ 2298700 w 4579938"/>
              <a:gd name="connsiteY48" fmla="*/ 2897188 h 6858001"/>
              <a:gd name="connsiteX49" fmla="*/ 2298700 w 4579938"/>
              <a:gd name="connsiteY49" fmla="*/ 3433763 h 6858001"/>
              <a:gd name="connsiteX50" fmla="*/ 2079625 w 4579938"/>
              <a:gd name="connsiteY50" fmla="*/ 3559176 h 6858001"/>
              <a:gd name="connsiteX51" fmla="*/ 1843088 w 4579938"/>
              <a:gd name="connsiteY51" fmla="*/ 3695701 h 6858001"/>
              <a:gd name="connsiteX52" fmla="*/ 1843088 w 4579938"/>
              <a:gd name="connsiteY52" fmla="*/ 4222751 h 6858001"/>
              <a:gd name="connsiteX53" fmla="*/ 1376363 w 4579938"/>
              <a:gd name="connsiteY53" fmla="*/ 4489451 h 6858001"/>
              <a:gd name="connsiteX54" fmla="*/ 919163 w 4579938"/>
              <a:gd name="connsiteY54" fmla="*/ 4227513 h 6858001"/>
              <a:gd name="connsiteX55" fmla="*/ 912813 w 4579938"/>
              <a:gd name="connsiteY55" fmla="*/ 4222751 h 6858001"/>
              <a:gd name="connsiteX56" fmla="*/ 912813 w 4579938"/>
              <a:gd name="connsiteY56" fmla="*/ 3916363 h 6858001"/>
              <a:gd name="connsiteX57" fmla="*/ 912813 w 4579938"/>
              <a:gd name="connsiteY57" fmla="*/ 3686176 h 6858001"/>
              <a:gd name="connsiteX58" fmla="*/ 1368425 w 4579938"/>
              <a:gd name="connsiteY58" fmla="*/ 3422651 h 6858001"/>
              <a:gd name="connsiteX59" fmla="*/ 1368425 w 4579938"/>
              <a:gd name="connsiteY59" fmla="*/ 3114676 h 6858001"/>
              <a:gd name="connsiteX60" fmla="*/ 1368425 w 4579938"/>
              <a:gd name="connsiteY60" fmla="*/ 2897188 h 6858001"/>
              <a:gd name="connsiteX61" fmla="*/ 3201988 w 4579938"/>
              <a:gd name="connsiteY61" fmla="*/ 1862138 h 6858001"/>
              <a:gd name="connsiteX62" fmla="*/ 2754313 w 4579938"/>
              <a:gd name="connsiteY62" fmla="*/ 2119313 h 6858001"/>
              <a:gd name="connsiteX63" fmla="*/ 2754313 w 4579938"/>
              <a:gd name="connsiteY63" fmla="*/ 2635251 h 6858001"/>
              <a:gd name="connsiteX64" fmla="*/ 3201988 w 4579938"/>
              <a:gd name="connsiteY64" fmla="*/ 2892426 h 6858001"/>
              <a:gd name="connsiteX65" fmla="*/ 3648075 w 4579938"/>
              <a:gd name="connsiteY65" fmla="*/ 2635251 h 6858001"/>
              <a:gd name="connsiteX66" fmla="*/ 3648075 w 4579938"/>
              <a:gd name="connsiteY66" fmla="*/ 2327275 h 6858001"/>
              <a:gd name="connsiteX67" fmla="*/ 3648075 w 4579938"/>
              <a:gd name="connsiteY67" fmla="*/ 2117725 h 6858001"/>
              <a:gd name="connsiteX68" fmla="*/ 2746375 w 4579938"/>
              <a:gd name="connsiteY68" fmla="*/ 1071563 h 6858001"/>
              <a:gd name="connsiteX69" fmla="*/ 2298700 w 4579938"/>
              <a:gd name="connsiteY69" fmla="*/ 1330325 h 6858001"/>
              <a:gd name="connsiteX70" fmla="*/ 2298700 w 4579938"/>
              <a:gd name="connsiteY70" fmla="*/ 1524000 h 6858001"/>
              <a:gd name="connsiteX71" fmla="*/ 2298700 w 4579938"/>
              <a:gd name="connsiteY71" fmla="*/ 1846263 h 6858001"/>
              <a:gd name="connsiteX72" fmla="*/ 2746375 w 4579938"/>
              <a:gd name="connsiteY72" fmla="*/ 2105025 h 6858001"/>
              <a:gd name="connsiteX73" fmla="*/ 3192463 w 4579938"/>
              <a:gd name="connsiteY73" fmla="*/ 1846263 h 6858001"/>
              <a:gd name="connsiteX74" fmla="*/ 3192463 w 4579938"/>
              <a:gd name="connsiteY74" fmla="*/ 1330325 h 6858001"/>
              <a:gd name="connsiteX75" fmla="*/ 1831975 w 4579938"/>
              <a:gd name="connsiteY75" fmla="*/ 1071563 h 6858001"/>
              <a:gd name="connsiteX76" fmla="*/ 1385888 w 4579938"/>
              <a:gd name="connsiteY76" fmla="*/ 1330325 h 6858001"/>
              <a:gd name="connsiteX77" fmla="*/ 1385888 w 4579938"/>
              <a:gd name="connsiteY77" fmla="*/ 1524000 h 6858001"/>
              <a:gd name="connsiteX78" fmla="*/ 1385888 w 4579938"/>
              <a:gd name="connsiteY78" fmla="*/ 1846263 h 6858001"/>
              <a:gd name="connsiteX79" fmla="*/ 1835150 w 4579938"/>
              <a:gd name="connsiteY79" fmla="*/ 2105025 h 6858001"/>
              <a:gd name="connsiteX80" fmla="*/ 2281238 w 4579938"/>
              <a:gd name="connsiteY80" fmla="*/ 1846263 h 6858001"/>
              <a:gd name="connsiteX81" fmla="*/ 2281238 w 4579938"/>
              <a:gd name="connsiteY81" fmla="*/ 1524000 h 6858001"/>
              <a:gd name="connsiteX82" fmla="*/ 2281238 w 4579938"/>
              <a:gd name="connsiteY82" fmla="*/ 1330325 h 6858001"/>
              <a:gd name="connsiteX83" fmla="*/ 920750 w 4579938"/>
              <a:gd name="connsiteY83" fmla="*/ 1071563 h 6858001"/>
              <a:gd name="connsiteX84" fmla="*/ 474663 w 4579938"/>
              <a:gd name="connsiteY84" fmla="*/ 1330325 h 6858001"/>
              <a:gd name="connsiteX85" fmla="*/ 474663 w 4579938"/>
              <a:gd name="connsiteY85" fmla="*/ 1524000 h 6858001"/>
              <a:gd name="connsiteX86" fmla="*/ 474663 w 4579938"/>
              <a:gd name="connsiteY86" fmla="*/ 1846263 h 6858001"/>
              <a:gd name="connsiteX87" fmla="*/ 920750 w 4579938"/>
              <a:gd name="connsiteY87" fmla="*/ 2105025 h 6858001"/>
              <a:gd name="connsiteX88" fmla="*/ 1368425 w 4579938"/>
              <a:gd name="connsiteY88" fmla="*/ 1846263 h 6858001"/>
              <a:gd name="connsiteX89" fmla="*/ 1368425 w 4579938"/>
              <a:gd name="connsiteY89" fmla="*/ 1524000 h 6858001"/>
              <a:gd name="connsiteX90" fmla="*/ 1368425 w 4579938"/>
              <a:gd name="connsiteY90" fmla="*/ 1330325 h 6858001"/>
              <a:gd name="connsiteX91" fmla="*/ 4113213 w 4579938"/>
              <a:gd name="connsiteY91" fmla="*/ 284163 h 6858001"/>
              <a:gd name="connsiteX92" fmla="*/ 3665538 w 4579938"/>
              <a:gd name="connsiteY92" fmla="*/ 542925 h 6858001"/>
              <a:gd name="connsiteX93" fmla="*/ 3665538 w 4579938"/>
              <a:gd name="connsiteY93" fmla="*/ 1058863 h 6858001"/>
              <a:gd name="connsiteX94" fmla="*/ 4113213 w 4579938"/>
              <a:gd name="connsiteY94" fmla="*/ 1316038 h 6858001"/>
              <a:gd name="connsiteX95" fmla="*/ 4560888 w 4579938"/>
              <a:gd name="connsiteY95" fmla="*/ 1058863 h 6858001"/>
              <a:gd name="connsiteX96" fmla="*/ 4560888 w 4579938"/>
              <a:gd name="connsiteY96" fmla="*/ 800100 h 6858001"/>
              <a:gd name="connsiteX97" fmla="*/ 4560888 w 4579938"/>
              <a:gd name="connsiteY97" fmla="*/ 542925 h 6858001"/>
              <a:gd name="connsiteX98" fmla="*/ 2287588 w 4579938"/>
              <a:gd name="connsiteY98" fmla="*/ 284163 h 6858001"/>
              <a:gd name="connsiteX99" fmla="*/ 1843088 w 4579938"/>
              <a:gd name="connsiteY99" fmla="*/ 542925 h 6858001"/>
              <a:gd name="connsiteX100" fmla="*/ 1843088 w 4579938"/>
              <a:gd name="connsiteY100" fmla="*/ 800100 h 6858001"/>
              <a:gd name="connsiteX101" fmla="*/ 1843088 w 4579938"/>
              <a:gd name="connsiteY101" fmla="*/ 1057275 h 6858001"/>
              <a:gd name="connsiteX102" fmla="*/ 2290763 w 4579938"/>
              <a:gd name="connsiteY102" fmla="*/ 1314450 h 6858001"/>
              <a:gd name="connsiteX103" fmla="*/ 2736850 w 4579938"/>
              <a:gd name="connsiteY103" fmla="*/ 1057275 h 6858001"/>
              <a:gd name="connsiteX104" fmla="*/ 2736850 w 4579938"/>
              <a:gd name="connsiteY104" fmla="*/ 723900 h 6858001"/>
              <a:gd name="connsiteX105" fmla="*/ 2736850 w 4579938"/>
              <a:gd name="connsiteY105" fmla="*/ 542925 h 6858001"/>
              <a:gd name="connsiteX106" fmla="*/ 4113213 w 4579938"/>
              <a:gd name="connsiteY106" fmla="*/ 263525 h 6858001"/>
              <a:gd name="connsiteX107" fmla="*/ 4579938 w 4579938"/>
              <a:gd name="connsiteY107" fmla="*/ 531813 h 6858001"/>
              <a:gd name="connsiteX108" fmla="*/ 4579938 w 4579938"/>
              <a:gd name="connsiteY108" fmla="*/ 800100 h 6858001"/>
              <a:gd name="connsiteX109" fmla="*/ 4579938 w 4579938"/>
              <a:gd name="connsiteY109" fmla="*/ 1066800 h 6858001"/>
              <a:gd name="connsiteX110" fmla="*/ 4113213 w 4579938"/>
              <a:gd name="connsiteY110" fmla="*/ 1336675 h 6858001"/>
              <a:gd name="connsiteX111" fmla="*/ 3648075 w 4579938"/>
              <a:gd name="connsiteY111" fmla="*/ 1066800 h 6858001"/>
              <a:gd name="connsiteX112" fmla="*/ 3648075 w 4579938"/>
              <a:gd name="connsiteY112" fmla="*/ 723900 h 6858001"/>
              <a:gd name="connsiteX113" fmla="*/ 3648075 w 4579938"/>
              <a:gd name="connsiteY113" fmla="*/ 531813 h 6858001"/>
              <a:gd name="connsiteX114" fmla="*/ 2281238 w 4579938"/>
              <a:gd name="connsiteY114" fmla="*/ 0 h 6858001"/>
              <a:gd name="connsiteX115" fmla="*/ 2298700 w 4579938"/>
              <a:gd name="connsiteY115" fmla="*/ 0 h 6858001"/>
              <a:gd name="connsiteX116" fmla="*/ 2298700 w 4579938"/>
              <a:gd name="connsiteY116" fmla="*/ 268288 h 6858001"/>
              <a:gd name="connsiteX117" fmla="*/ 2746375 w 4579938"/>
              <a:gd name="connsiteY117" fmla="*/ 525463 h 6858001"/>
              <a:gd name="connsiteX118" fmla="*/ 3192463 w 4579938"/>
              <a:gd name="connsiteY118" fmla="*/ 268288 h 6858001"/>
              <a:gd name="connsiteX119" fmla="*/ 3192463 w 4579938"/>
              <a:gd name="connsiteY119" fmla="*/ 0 h 6858001"/>
              <a:gd name="connsiteX120" fmla="*/ 3211513 w 4579938"/>
              <a:gd name="connsiteY120" fmla="*/ 0 h 6858001"/>
              <a:gd name="connsiteX121" fmla="*/ 3211513 w 4579938"/>
              <a:gd name="connsiteY121" fmla="*/ 279400 h 6858001"/>
              <a:gd name="connsiteX122" fmla="*/ 2754313 w 4579938"/>
              <a:gd name="connsiteY122" fmla="*/ 542925 h 6858001"/>
              <a:gd name="connsiteX123" fmla="*/ 2754313 w 4579938"/>
              <a:gd name="connsiteY123" fmla="*/ 723900 h 6858001"/>
              <a:gd name="connsiteX124" fmla="*/ 2754313 w 4579938"/>
              <a:gd name="connsiteY124" fmla="*/ 1057275 h 6858001"/>
              <a:gd name="connsiteX125" fmla="*/ 3211513 w 4579938"/>
              <a:gd name="connsiteY125" fmla="*/ 1319213 h 6858001"/>
              <a:gd name="connsiteX126" fmla="*/ 3211513 w 4579938"/>
              <a:gd name="connsiteY126" fmla="*/ 1846263 h 6858001"/>
              <a:gd name="connsiteX127" fmla="*/ 3665538 w 4579938"/>
              <a:gd name="connsiteY127" fmla="*/ 2109788 h 6858001"/>
              <a:gd name="connsiteX128" fmla="*/ 3665538 w 4579938"/>
              <a:gd name="connsiteY128" fmla="*/ 2327275 h 6858001"/>
              <a:gd name="connsiteX129" fmla="*/ 3665538 w 4579938"/>
              <a:gd name="connsiteY129" fmla="*/ 2644776 h 6858001"/>
              <a:gd name="connsiteX130" fmla="*/ 3201988 w 4579938"/>
              <a:gd name="connsiteY130" fmla="*/ 2914651 h 6858001"/>
              <a:gd name="connsiteX131" fmla="*/ 2949575 w 4579938"/>
              <a:gd name="connsiteY131" fmla="*/ 2768601 h 6858001"/>
              <a:gd name="connsiteX132" fmla="*/ 2736850 w 4579938"/>
              <a:gd name="connsiteY132" fmla="*/ 2644776 h 6858001"/>
              <a:gd name="connsiteX133" fmla="*/ 2736850 w 4579938"/>
              <a:gd name="connsiteY133" fmla="*/ 2119313 h 6858001"/>
              <a:gd name="connsiteX134" fmla="*/ 2290763 w 4579938"/>
              <a:gd name="connsiteY134" fmla="*/ 1862138 h 6858001"/>
              <a:gd name="connsiteX135" fmla="*/ 1835150 w 4579938"/>
              <a:gd name="connsiteY135" fmla="*/ 2125663 h 6858001"/>
              <a:gd name="connsiteX136" fmla="*/ 1376363 w 4579938"/>
              <a:gd name="connsiteY136" fmla="*/ 1862138 h 6858001"/>
              <a:gd name="connsiteX137" fmla="*/ 920750 w 4579938"/>
              <a:gd name="connsiteY137" fmla="*/ 2125663 h 6858001"/>
              <a:gd name="connsiteX138" fmla="*/ 455613 w 4579938"/>
              <a:gd name="connsiteY138" fmla="*/ 1857375 h 6858001"/>
              <a:gd name="connsiteX139" fmla="*/ 455613 w 4579938"/>
              <a:gd name="connsiteY139" fmla="*/ 1524000 h 6858001"/>
              <a:gd name="connsiteX140" fmla="*/ 455613 w 4579938"/>
              <a:gd name="connsiteY140" fmla="*/ 1319213 h 6858001"/>
              <a:gd name="connsiteX141" fmla="*/ 920750 w 4579938"/>
              <a:gd name="connsiteY141" fmla="*/ 1052513 h 6858001"/>
              <a:gd name="connsiteX142" fmla="*/ 1376363 w 4579938"/>
              <a:gd name="connsiteY142" fmla="*/ 1314450 h 6858001"/>
              <a:gd name="connsiteX143" fmla="*/ 1825625 w 4579938"/>
              <a:gd name="connsiteY143" fmla="*/ 1057275 h 6858001"/>
              <a:gd name="connsiteX144" fmla="*/ 1825625 w 4579938"/>
              <a:gd name="connsiteY144" fmla="*/ 800100 h 6858001"/>
              <a:gd name="connsiteX145" fmla="*/ 1825625 w 4579938"/>
              <a:gd name="connsiteY145" fmla="*/ 531813 h 6858001"/>
              <a:gd name="connsiteX146" fmla="*/ 2281238 w 4579938"/>
              <a:gd name="connsiteY146" fmla="*/ 268288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</a:cxnLst>
            <a:rect l="l" t="t" r="r" b="b"/>
            <a:pathLst>
              <a:path w="4579938" h="6858001">
                <a:moveTo>
                  <a:pt x="922338" y="5805489"/>
                </a:moveTo>
                <a:lnTo>
                  <a:pt x="474663" y="6064251"/>
                </a:lnTo>
                <a:lnTo>
                  <a:pt x="474663" y="6578601"/>
                </a:lnTo>
                <a:lnTo>
                  <a:pt x="920750" y="6835776"/>
                </a:lnTo>
                <a:lnTo>
                  <a:pt x="1368425" y="6578601"/>
                </a:lnTo>
                <a:lnTo>
                  <a:pt x="1368425" y="6321426"/>
                </a:lnTo>
                <a:lnTo>
                  <a:pt x="1368425" y="6062664"/>
                </a:lnTo>
                <a:close/>
                <a:moveTo>
                  <a:pt x="465138" y="5016501"/>
                </a:moveTo>
                <a:lnTo>
                  <a:pt x="19050" y="5273676"/>
                </a:lnTo>
                <a:lnTo>
                  <a:pt x="19050" y="5448301"/>
                </a:lnTo>
                <a:lnTo>
                  <a:pt x="19050" y="5789614"/>
                </a:lnTo>
                <a:lnTo>
                  <a:pt x="465138" y="6048376"/>
                </a:lnTo>
                <a:lnTo>
                  <a:pt x="912813" y="5789614"/>
                </a:lnTo>
                <a:lnTo>
                  <a:pt x="912813" y="5495926"/>
                </a:lnTo>
                <a:lnTo>
                  <a:pt x="912813" y="5273676"/>
                </a:lnTo>
                <a:close/>
                <a:moveTo>
                  <a:pt x="465138" y="4994276"/>
                </a:moveTo>
                <a:lnTo>
                  <a:pt x="919163" y="5257801"/>
                </a:lnTo>
                <a:lnTo>
                  <a:pt x="930275" y="5264151"/>
                </a:lnTo>
                <a:lnTo>
                  <a:pt x="930275" y="5495926"/>
                </a:lnTo>
                <a:lnTo>
                  <a:pt x="930275" y="5789614"/>
                </a:lnTo>
                <a:lnTo>
                  <a:pt x="1385888" y="6053139"/>
                </a:lnTo>
                <a:lnTo>
                  <a:pt x="1385888" y="6321426"/>
                </a:lnTo>
                <a:lnTo>
                  <a:pt x="1385888" y="6589714"/>
                </a:lnTo>
                <a:lnTo>
                  <a:pt x="920750" y="6858001"/>
                </a:lnTo>
                <a:lnTo>
                  <a:pt x="455613" y="6589714"/>
                </a:lnTo>
                <a:lnTo>
                  <a:pt x="455613" y="6064251"/>
                </a:lnTo>
                <a:lnTo>
                  <a:pt x="0" y="5800726"/>
                </a:lnTo>
                <a:lnTo>
                  <a:pt x="0" y="5448301"/>
                </a:lnTo>
                <a:lnTo>
                  <a:pt x="0" y="5264151"/>
                </a:lnTo>
                <a:close/>
                <a:moveTo>
                  <a:pt x="1376363" y="3438526"/>
                </a:moveTo>
                <a:lnTo>
                  <a:pt x="930275" y="3695701"/>
                </a:lnTo>
                <a:lnTo>
                  <a:pt x="930275" y="3916363"/>
                </a:lnTo>
                <a:lnTo>
                  <a:pt x="930275" y="4213226"/>
                </a:lnTo>
                <a:lnTo>
                  <a:pt x="1376363" y="4470401"/>
                </a:lnTo>
                <a:lnTo>
                  <a:pt x="1825625" y="4213226"/>
                </a:lnTo>
                <a:lnTo>
                  <a:pt x="1825625" y="3695701"/>
                </a:lnTo>
                <a:lnTo>
                  <a:pt x="1587500" y="3559176"/>
                </a:lnTo>
                <a:close/>
                <a:moveTo>
                  <a:pt x="1835150" y="2649538"/>
                </a:moveTo>
                <a:lnTo>
                  <a:pt x="1385888" y="2908301"/>
                </a:lnTo>
                <a:lnTo>
                  <a:pt x="1385888" y="3114676"/>
                </a:lnTo>
                <a:lnTo>
                  <a:pt x="1385888" y="3422651"/>
                </a:lnTo>
                <a:lnTo>
                  <a:pt x="1622425" y="3559176"/>
                </a:lnTo>
                <a:lnTo>
                  <a:pt x="1835150" y="3683001"/>
                </a:lnTo>
                <a:lnTo>
                  <a:pt x="2047875" y="3559176"/>
                </a:lnTo>
                <a:lnTo>
                  <a:pt x="2281238" y="3424238"/>
                </a:lnTo>
                <a:lnTo>
                  <a:pt x="2281238" y="2908301"/>
                </a:lnTo>
                <a:close/>
                <a:moveTo>
                  <a:pt x="1835150" y="2628901"/>
                </a:moveTo>
                <a:lnTo>
                  <a:pt x="2074863" y="2768601"/>
                </a:lnTo>
                <a:lnTo>
                  <a:pt x="2298700" y="2897188"/>
                </a:lnTo>
                <a:lnTo>
                  <a:pt x="2298700" y="3433763"/>
                </a:lnTo>
                <a:lnTo>
                  <a:pt x="2079625" y="3559176"/>
                </a:lnTo>
                <a:lnTo>
                  <a:pt x="1843088" y="3695701"/>
                </a:lnTo>
                <a:lnTo>
                  <a:pt x="1843088" y="4222751"/>
                </a:lnTo>
                <a:lnTo>
                  <a:pt x="1376363" y="4489451"/>
                </a:lnTo>
                <a:lnTo>
                  <a:pt x="919163" y="4227513"/>
                </a:lnTo>
                <a:lnTo>
                  <a:pt x="912813" y="4222751"/>
                </a:lnTo>
                <a:lnTo>
                  <a:pt x="912813" y="3916363"/>
                </a:lnTo>
                <a:lnTo>
                  <a:pt x="912813" y="3686176"/>
                </a:lnTo>
                <a:lnTo>
                  <a:pt x="1368425" y="3422651"/>
                </a:lnTo>
                <a:lnTo>
                  <a:pt x="1368425" y="3114676"/>
                </a:lnTo>
                <a:lnTo>
                  <a:pt x="1368425" y="2897188"/>
                </a:lnTo>
                <a:close/>
                <a:moveTo>
                  <a:pt x="3201988" y="1862138"/>
                </a:moveTo>
                <a:lnTo>
                  <a:pt x="2754313" y="2119313"/>
                </a:lnTo>
                <a:lnTo>
                  <a:pt x="2754313" y="2635251"/>
                </a:lnTo>
                <a:lnTo>
                  <a:pt x="3201988" y="2892426"/>
                </a:lnTo>
                <a:lnTo>
                  <a:pt x="3648075" y="2635251"/>
                </a:lnTo>
                <a:lnTo>
                  <a:pt x="3648075" y="2327275"/>
                </a:lnTo>
                <a:lnTo>
                  <a:pt x="3648075" y="2117725"/>
                </a:lnTo>
                <a:close/>
                <a:moveTo>
                  <a:pt x="2746375" y="1071563"/>
                </a:moveTo>
                <a:lnTo>
                  <a:pt x="2298700" y="1330325"/>
                </a:lnTo>
                <a:lnTo>
                  <a:pt x="2298700" y="1524000"/>
                </a:lnTo>
                <a:lnTo>
                  <a:pt x="2298700" y="1846263"/>
                </a:lnTo>
                <a:lnTo>
                  <a:pt x="2746375" y="2105025"/>
                </a:lnTo>
                <a:lnTo>
                  <a:pt x="3192463" y="1846263"/>
                </a:lnTo>
                <a:lnTo>
                  <a:pt x="3192463" y="1330325"/>
                </a:lnTo>
                <a:close/>
                <a:moveTo>
                  <a:pt x="1831975" y="1071563"/>
                </a:moveTo>
                <a:lnTo>
                  <a:pt x="1385888" y="1330325"/>
                </a:lnTo>
                <a:lnTo>
                  <a:pt x="1385888" y="1524000"/>
                </a:lnTo>
                <a:lnTo>
                  <a:pt x="1385888" y="1846263"/>
                </a:lnTo>
                <a:lnTo>
                  <a:pt x="1835150" y="2105025"/>
                </a:lnTo>
                <a:lnTo>
                  <a:pt x="2281238" y="1846263"/>
                </a:lnTo>
                <a:lnTo>
                  <a:pt x="2281238" y="1524000"/>
                </a:lnTo>
                <a:lnTo>
                  <a:pt x="2281238" y="1330325"/>
                </a:lnTo>
                <a:close/>
                <a:moveTo>
                  <a:pt x="920750" y="1071563"/>
                </a:moveTo>
                <a:lnTo>
                  <a:pt x="474663" y="1330325"/>
                </a:lnTo>
                <a:lnTo>
                  <a:pt x="474663" y="1524000"/>
                </a:lnTo>
                <a:lnTo>
                  <a:pt x="474663" y="1846263"/>
                </a:lnTo>
                <a:lnTo>
                  <a:pt x="920750" y="2105025"/>
                </a:lnTo>
                <a:lnTo>
                  <a:pt x="1368425" y="1846263"/>
                </a:lnTo>
                <a:lnTo>
                  <a:pt x="1368425" y="1524000"/>
                </a:lnTo>
                <a:lnTo>
                  <a:pt x="1368425" y="1330325"/>
                </a:lnTo>
                <a:close/>
                <a:moveTo>
                  <a:pt x="4113213" y="284163"/>
                </a:moveTo>
                <a:lnTo>
                  <a:pt x="3665538" y="542925"/>
                </a:lnTo>
                <a:lnTo>
                  <a:pt x="3665538" y="1058863"/>
                </a:lnTo>
                <a:lnTo>
                  <a:pt x="4113213" y="1316038"/>
                </a:lnTo>
                <a:lnTo>
                  <a:pt x="4560888" y="1058863"/>
                </a:lnTo>
                <a:lnTo>
                  <a:pt x="4560888" y="800100"/>
                </a:lnTo>
                <a:lnTo>
                  <a:pt x="4560888" y="542925"/>
                </a:lnTo>
                <a:close/>
                <a:moveTo>
                  <a:pt x="2287588" y="284163"/>
                </a:moveTo>
                <a:lnTo>
                  <a:pt x="1843088" y="542925"/>
                </a:lnTo>
                <a:lnTo>
                  <a:pt x="1843088" y="800100"/>
                </a:lnTo>
                <a:lnTo>
                  <a:pt x="1843088" y="1057275"/>
                </a:lnTo>
                <a:lnTo>
                  <a:pt x="2290763" y="1314450"/>
                </a:lnTo>
                <a:lnTo>
                  <a:pt x="2736850" y="1057275"/>
                </a:lnTo>
                <a:lnTo>
                  <a:pt x="2736850" y="723900"/>
                </a:lnTo>
                <a:lnTo>
                  <a:pt x="2736850" y="542925"/>
                </a:lnTo>
                <a:close/>
                <a:moveTo>
                  <a:pt x="4113213" y="263525"/>
                </a:moveTo>
                <a:lnTo>
                  <a:pt x="4579938" y="531813"/>
                </a:lnTo>
                <a:lnTo>
                  <a:pt x="4579938" y="800100"/>
                </a:lnTo>
                <a:lnTo>
                  <a:pt x="4579938" y="1066800"/>
                </a:lnTo>
                <a:lnTo>
                  <a:pt x="4113213" y="1336675"/>
                </a:lnTo>
                <a:lnTo>
                  <a:pt x="3648075" y="1066800"/>
                </a:lnTo>
                <a:lnTo>
                  <a:pt x="3648075" y="723900"/>
                </a:lnTo>
                <a:lnTo>
                  <a:pt x="3648075" y="531813"/>
                </a:lnTo>
                <a:close/>
                <a:moveTo>
                  <a:pt x="2281238" y="0"/>
                </a:moveTo>
                <a:lnTo>
                  <a:pt x="2298700" y="0"/>
                </a:lnTo>
                <a:lnTo>
                  <a:pt x="2298700" y="268288"/>
                </a:lnTo>
                <a:lnTo>
                  <a:pt x="2746375" y="525463"/>
                </a:lnTo>
                <a:lnTo>
                  <a:pt x="3192463" y="268288"/>
                </a:lnTo>
                <a:lnTo>
                  <a:pt x="3192463" y="0"/>
                </a:lnTo>
                <a:lnTo>
                  <a:pt x="3211513" y="0"/>
                </a:lnTo>
                <a:lnTo>
                  <a:pt x="3211513" y="279400"/>
                </a:lnTo>
                <a:lnTo>
                  <a:pt x="2754313" y="542925"/>
                </a:lnTo>
                <a:lnTo>
                  <a:pt x="2754313" y="723900"/>
                </a:lnTo>
                <a:lnTo>
                  <a:pt x="2754313" y="1057275"/>
                </a:lnTo>
                <a:lnTo>
                  <a:pt x="3211513" y="1319213"/>
                </a:lnTo>
                <a:lnTo>
                  <a:pt x="3211513" y="1846263"/>
                </a:lnTo>
                <a:lnTo>
                  <a:pt x="3665538" y="2109788"/>
                </a:lnTo>
                <a:lnTo>
                  <a:pt x="3665538" y="2327275"/>
                </a:lnTo>
                <a:lnTo>
                  <a:pt x="3665538" y="2644776"/>
                </a:lnTo>
                <a:lnTo>
                  <a:pt x="3201988" y="2914651"/>
                </a:lnTo>
                <a:lnTo>
                  <a:pt x="2949575" y="2768601"/>
                </a:lnTo>
                <a:lnTo>
                  <a:pt x="2736850" y="2644776"/>
                </a:lnTo>
                <a:lnTo>
                  <a:pt x="2736850" y="2119313"/>
                </a:lnTo>
                <a:lnTo>
                  <a:pt x="2290763" y="1862138"/>
                </a:lnTo>
                <a:lnTo>
                  <a:pt x="1835150" y="2125663"/>
                </a:lnTo>
                <a:lnTo>
                  <a:pt x="1376363" y="1862138"/>
                </a:lnTo>
                <a:lnTo>
                  <a:pt x="920750" y="2125663"/>
                </a:lnTo>
                <a:lnTo>
                  <a:pt x="455613" y="1857375"/>
                </a:lnTo>
                <a:lnTo>
                  <a:pt x="455613" y="1524000"/>
                </a:lnTo>
                <a:lnTo>
                  <a:pt x="455613" y="1319213"/>
                </a:lnTo>
                <a:lnTo>
                  <a:pt x="920750" y="1052513"/>
                </a:lnTo>
                <a:lnTo>
                  <a:pt x="1376363" y="1314450"/>
                </a:lnTo>
                <a:lnTo>
                  <a:pt x="1825625" y="1057275"/>
                </a:lnTo>
                <a:lnTo>
                  <a:pt x="1825625" y="800100"/>
                </a:lnTo>
                <a:lnTo>
                  <a:pt x="1825625" y="531813"/>
                </a:lnTo>
                <a:lnTo>
                  <a:pt x="2281238" y="26828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400">
                <a:noFill/>
              </a:defRPr>
            </a:lvl1pPr>
            <a:lvl2pPr marL="0" indent="0">
              <a:buNone/>
              <a:defRPr sz="400">
                <a:noFill/>
              </a:defRPr>
            </a:lvl2pPr>
            <a:lvl3pPr marL="0" indent="0">
              <a:buNone/>
              <a:defRPr sz="400">
                <a:noFill/>
              </a:defRPr>
            </a:lvl3pPr>
            <a:lvl4pPr marL="0" indent="0">
              <a:buFont typeface="Arial" panose="020B0604020202020204" pitchFamily="34" charset="0"/>
              <a:buNone/>
              <a:defRPr sz="400">
                <a:noFill/>
              </a:defRPr>
            </a:lvl4pPr>
            <a:lvl5pPr marL="0" indent="0">
              <a:buFont typeface="Arial" panose="020B0604020202020204" pitchFamily="34" charset="0"/>
              <a:buNone/>
              <a:defRPr sz="400">
                <a:noFill/>
              </a:defRPr>
            </a:lvl5pPr>
            <a:lvl6pPr marL="0" indent="0">
              <a:buFont typeface="Arial" panose="020B0604020202020204" pitchFamily="34" charset="0"/>
              <a:buNone/>
              <a:defRPr sz="400">
                <a:noFill/>
              </a:defRPr>
            </a:lvl6pPr>
            <a:lvl7pPr marL="0" indent="0">
              <a:buFont typeface="Arial" panose="020B0604020202020204" pitchFamily="34" charset="0"/>
              <a:buNone/>
              <a:defRPr sz="400">
                <a:noFill/>
              </a:defRPr>
            </a:lvl7pPr>
            <a:lvl8pPr marL="0" indent="0">
              <a:buFont typeface="Arial" panose="020B0604020202020204" pitchFamily="34" charset="0"/>
              <a:buNone/>
              <a:defRPr sz="400">
                <a:noFill/>
              </a:defRPr>
            </a:lvl8pPr>
            <a:lvl9pPr marL="0" indent="0">
              <a:buFont typeface="Arial" panose="020B0604020202020204" pitchFamily="34" charset="0"/>
              <a:buNone/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E8C445F-4CBD-4B94-9B7B-050D71FA58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412" y="967666"/>
            <a:ext cx="7054788" cy="54430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2pPr>
              <a:defRPr lang="es-ES" b="1" dirty="0" smtClean="0">
                <a:solidFill>
                  <a:schemeClr val="tx1"/>
                </a:solidFill>
              </a:defRPr>
            </a:lvl2pPr>
            <a:lvl3pPr>
              <a:defRPr lang="es-ES" dirty="0" smtClean="0"/>
            </a:lvl3pPr>
            <a:lvl4pPr>
              <a:defRPr lang="es-ES" dirty="0" smtClean="0"/>
            </a:lvl4pPr>
            <a:lvl5pPr>
              <a:defRPr lang="en-AU" dirty="0"/>
            </a:lvl5pPr>
          </a:lstStyle>
          <a:p>
            <a:pPr lvl="1">
              <a:spcAft>
                <a:spcPts val="1000"/>
              </a:spcAft>
            </a:pPr>
            <a:r>
              <a:rPr lang="es-ES" dirty="0" err="1"/>
              <a:t>Chapter</a:t>
            </a:r>
            <a:r>
              <a:rPr lang="es-ES" dirty="0"/>
              <a:t> 1</a:t>
            </a:r>
          </a:p>
          <a:p>
            <a:pPr lvl="1">
              <a:spcAft>
                <a:spcPts val="1000"/>
              </a:spcAft>
            </a:pPr>
            <a:r>
              <a:rPr lang="es-ES" dirty="0" err="1"/>
              <a:t>Chapter</a:t>
            </a:r>
            <a:r>
              <a:rPr lang="es-ES" dirty="0"/>
              <a:t> 2</a:t>
            </a:r>
          </a:p>
          <a:p>
            <a:pPr lvl="1">
              <a:spcAft>
                <a:spcPts val="1000"/>
              </a:spcAft>
            </a:pPr>
            <a:r>
              <a:rPr lang="es-ES" dirty="0" err="1"/>
              <a:t>Chapter</a:t>
            </a:r>
            <a:r>
              <a:rPr lang="es-ES" dirty="0"/>
              <a:t> 3</a:t>
            </a:r>
          </a:p>
          <a:p>
            <a:pPr lvl="1">
              <a:spcAft>
                <a:spcPts val="1000"/>
              </a:spcAft>
            </a:pPr>
            <a:endParaRPr lang="es-ES" dirty="0"/>
          </a:p>
          <a:p>
            <a:pPr lvl="1">
              <a:spcAft>
                <a:spcPts val="1000"/>
              </a:spcAft>
            </a:pPr>
            <a:endParaRPr lang="es-ES" dirty="0"/>
          </a:p>
          <a:p>
            <a:pPr lvl="1">
              <a:spcAft>
                <a:spcPts val="1000"/>
              </a:spcAft>
            </a:pPr>
            <a:endParaRPr lang="en-AU" dirty="0"/>
          </a:p>
        </p:txBody>
      </p:sp>
      <p:sp>
        <p:nvSpPr>
          <p:cNvPr id="9" name="Marcador de texto 11">
            <a:extLst>
              <a:ext uri="{FF2B5EF4-FFF2-40B4-BE49-F238E27FC236}">
                <a16:creationId xmlns:a16="http://schemas.microsoft.com/office/drawing/2014/main" id="{97ECAC6B-8ED8-47F1-9488-478CC54EF9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66773" y="447251"/>
            <a:ext cx="1109709" cy="342863"/>
          </a:xfrm>
          <a:prstGeom prst="rect">
            <a:avLst/>
          </a:prstGeom>
        </p:spPr>
        <p:txBody>
          <a:bodyPr anchor="ctr"/>
          <a:lstStyle>
            <a:lvl1pPr algn="r">
              <a:defRPr sz="700"/>
            </a:lvl1pPr>
          </a:lstStyle>
          <a:p>
            <a:pPr lvl="0"/>
            <a:r>
              <a:rPr lang="es-ES" dirty="0" err="1"/>
              <a:t>Customer</a:t>
            </a:r>
            <a:r>
              <a:rPr lang="es-ES" dirty="0"/>
              <a:t> </a:t>
            </a:r>
            <a:r>
              <a:rPr lang="es-ES" dirty="0" err="1"/>
              <a:t>name</a:t>
            </a:r>
            <a:r>
              <a:rPr lang="es-ES" dirty="0"/>
              <a:t> </a:t>
            </a:r>
            <a:r>
              <a:rPr lang="es-ES" dirty="0" err="1"/>
              <a:t>or</a:t>
            </a:r>
            <a:r>
              <a:rPr lang="es-ES" dirty="0"/>
              <a:t> logo</a:t>
            </a:r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7BFD8125-2427-41BA-B8EC-235A5792DFA2}"/>
              </a:ext>
            </a:extLst>
          </p:cNvPr>
          <p:cNvSpPr txBox="1"/>
          <p:nvPr userDrawn="1"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tx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216C789C-60EC-4FDE-AD4D-40FA5CD4BF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333" y="6466199"/>
            <a:ext cx="198522" cy="21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7781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D070CA65-EED0-4348-AA30-F61CEA0477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1350" y="790114"/>
            <a:ext cx="10935132" cy="6214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 err="1"/>
              <a:t>Header</a:t>
            </a:r>
            <a:endParaRPr lang="es-ES" dirty="0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00C19024-3887-4644-A902-C2B321B907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412" y="447252"/>
            <a:ext cx="9825361" cy="3428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 dirty="0" err="1"/>
              <a:t>Slide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n-AU" dirty="0"/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0DB6E548-D9CB-4F0A-99E0-B2467AB042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66773" y="447251"/>
            <a:ext cx="1109709" cy="342863"/>
          </a:xfrm>
          <a:prstGeom prst="rect">
            <a:avLst/>
          </a:prstGeom>
        </p:spPr>
        <p:txBody>
          <a:bodyPr anchor="ctr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 err="1"/>
              <a:t>Customer</a:t>
            </a:r>
            <a:r>
              <a:rPr lang="es-ES" dirty="0"/>
              <a:t> </a:t>
            </a:r>
            <a:r>
              <a:rPr lang="es-ES" dirty="0" err="1"/>
              <a:t>name</a:t>
            </a:r>
            <a:r>
              <a:rPr lang="es-ES" dirty="0"/>
              <a:t> </a:t>
            </a:r>
            <a:r>
              <a:rPr lang="es-ES" dirty="0" err="1"/>
              <a:t>or</a:t>
            </a:r>
            <a:r>
              <a:rPr lang="es-ES" dirty="0"/>
              <a:t> logo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EA3451E-809A-4248-90BA-C78E40F9E5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6482" y="6537960"/>
            <a:ext cx="512647" cy="13502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TextBox 11">
            <a:extLst>
              <a:ext uri="{FF2B5EF4-FFF2-40B4-BE49-F238E27FC236}">
                <a16:creationId xmlns:a16="http://schemas.microsoft.com/office/drawing/2014/main" id="{B0DB44CA-E07F-4AA7-A089-EEFF38A0EF8A}"/>
              </a:ext>
            </a:extLst>
          </p:cNvPr>
          <p:cNvSpPr txBox="1"/>
          <p:nvPr userDrawn="1"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tx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830C0E1C-DB53-42ED-9D2D-91C2449E65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333" y="6466199"/>
            <a:ext cx="198522" cy="21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7122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ock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>
            <a:extLst>
              <a:ext uri="{FF2B5EF4-FFF2-40B4-BE49-F238E27FC236}">
                <a16:creationId xmlns:a16="http://schemas.microsoft.com/office/drawing/2014/main" id="{83F59E45-F8BF-481B-8D2E-F626C482B47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DB164A9F-C4F6-4A78-A8B1-391D583FCE08}"/>
              </a:ext>
            </a:extLst>
          </p:cNvPr>
          <p:cNvSpPr txBox="1"/>
          <p:nvPr userDrawn="1"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tx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  <p:pic>
        <p:nvPicPr>
          <p:cNvPr id="6" name="Picture 8">
            <a:extLst>
              <a:ext uri="{FF2B5EF4-FFF2-40B4-BE49-F238E27FC236}">
                <a16:creationId xmlns:a16="http://schemas.microsoft.com/office/drawing/2014/main" id="{80DF01EF-3889-4495-B8ED-4FB87130E0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862455" y="6466199"/>
            <a:ext cx="198522" cy="213314"/>
          </a:xfrm>
          <a:prstGeom prst="rect">
            <a:avLst/>
          </a:prstGeom>
        </p:spPr>
      </p:pic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85302EDA-6105-4FC6-B71C-D2275F90E7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2192001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00">
                <a:noFill/>
              </a:defRPr>
            </a:lvl1pPr>
            <a:lvl2pPr marL="0" indent="0">
              <a:buFont typeface="Arial" panose="020B0604020202020204" pitchFamily="34" charset="0"/>
              <a:buNone/>
              <a:defRPr sz="400">
                <a:noFill/>
              </a:defRPr>
            </a:lvl2pPr>
            <a:lvl3pPr marL="0" indent="0">
              <a:buFont typeface="Arial" panose="020B0604020202020204" pitchFamily="34" charset="0"/>
              <a:buNone/>
              <a:defRPr sz="400">
                <a:noFill/>
              </a:defRPr>
            </a:lvl3pPr>
            <a:lvl4pPr marL="0" indent="0">
              <a:buFont typeface="Arial" panose="020B0604020202020204" pitchFamily="34" charset="0"/>
              <a:buNone/>
              <a:defRPr sz="400">
                <a:noFill/>
              </a:defRPr>
            </a:lvl4pPr>
            <a:lvl5pPr marL="0" indent="0">
              <a:buFont typeface="Arial" panose="020B0604020202020204" pitchFamily="34" charset="0"/>
              <a:buNone/>
              <a:defRPr sz="400">
                <a:noFill/>
              </a:defRPr>
            </a:lvl5pPr>
            <a:lvl6pPr marL="0" indent="0">
              <a:buFont typeface="Arial" panose="020B0604020202020204" pitchFamily="34" charset="0"/>
              <a:buNone/>
              <a:defRPr sz="400">
                <a:noFill/>
              </a:defRPr>
            </a:lvl6pPr>
            <a:lvl7pPr marL="0" indent="0">
              <a:buFont typeface="Arial" panose="020B0604020202020204" pitchFamily="34" charset="0"/>
              <a:buNone/>
              <a:defRPr sz="400">
                <a:noFill/>
              </a:defRPr>
            </a:lvl7pPr>
            <a:lvl8pPr marL="0" indent="0">
              <a:buFont typeface="Arial" panose="020B0604020202020204" pitchFamily="34" charset="0"/>
              <a:buNone/>
              <a:defRPr sz="400">
                <a:noFill/>
              </a:defRPr>
            </a:lvl8pPr>
            <a:lvl9pPr marL="0" indent="0">
              <a:buFont typeface="Arial" panose="020B0604020202020204" pitchFamily="34" charset="0"/>
              <a:buNone/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262A02B0-884F-4759-9DB8-AA45891FB8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6810" y="5432425"/>
            <a:ext cx="3922973" cy="1012825"/>
          </a:xfrm>
          <a:prstGeom prst="rect">
            <a:avLst/>
          </a:prstGeom>
        </p:spPr>
        <p:txBody>
          <a:bodyPr anchor="ctr"/>
          <a:lstStyle>
            <a:lvl1pPr algn="ctr">
              <a:defRPr sz="3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s-ES" dirty="0" err="1"/>
              <a:t>Tit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173652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-Simp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BD35B54-5449-4B47-9E05-A5EE8708D4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444"/>
            <a:ext cx="12192000" cy="6849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5140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-Complex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FFA3322-8C70-454D-9C2F-6BF5E366EE98}"/>
              </a:ext>
            </a:extLst>
          </p:cNvPr>
          <p:cNvSpPr/>
          <p:nvPr userDrawn="1"/>
        </p:nvSpPr>
        <p:spPr>
          <a:xfrm>
            <a:off x="0" y="0"/>
            <a:ext cx="121869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13EE3A-F78B-4D59-83FD-5078C25798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79283" y="2170736"/>
            <a:ext cx="7024273" cy="240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4844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eal-Simp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1E6D839-AF60-4C65-9575-2673354827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480"/>
            <a:ext cx="12192000" cy="685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744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D070CA65-EED0-4348-AA30-F61CEA0477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1350" y="790114"/>
            <a:ext cx="10935132" cy="621435"/>
          </a:xfrm>
          <a:prstGeom prst="rect">
            <a:avLst/>
          </a:prstGeom>
        </p:spPr>
        <p:txBody>
          <a:bodyPr lIns="0" rIns="0"/>
          <a:lstStyle>
            <a:lvl1pPr>
              <a:defRPr/>
            </a:lvl1pPr>
          </a:lstStyle>
          <a:p>
            <a:pPr lvl="0"/>
            <a:r>
              <a:rPr lang="es-ES" dirty="0" err="1"/>
              <a:t>Header</a:t>
            </a:r>
            <a:endParaRPr lang="es-ES" dirty="0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00C19024-3887-4644-A902-C2B321B907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412" y="447252"/>
            <a:ext cx="9825361" cy="342863"/>
          </a:xfrm>
          <a:prstGeom prst="rect">
            <a:avLst/>
          </a:prstGeom>
        </p:spPr>
        <p:txBody>
          <a:bodyPr lIns="0" rIns="0"/>
          <a:lstStyle>
            <a:lvl1pPr>
              <a:defRPr/>
            </a:lvl1pPr>
          </a:lstStyle>
          <a:p>
            <a:r>
              <a:rPr lang="es-ES" dirty="0" err="1"/>
              <a:t>Slide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n-AU" dirty="0"/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0DB6E548-D9CB-4F0A-99E0-B2467AB042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66773" y="447251"/>
            <a:ext cx="1109709" cy="342863"/>
          </a:xfrm>
          <a:prstGeom prst="rect">
            <a:avLst/>
          </a:prstGeom>
        </p:spPr>
        <p:txBody>
          <a:bodyPr anchor="ctr"/>
          <a:lstStyle>
            <a:lvl1pPr algn="r">
              <a:defRPr sz="700"/>
            </a:lvl1pPr>
          </a:lstStyle>
          <a:p>
            <a:pPr lvl="0"/>
            <a:r>
              <a:rPr lang="es-ES" dirty="0" err="1"/>
              <a:t>Customer</a:t>
            </a:r>
            <a:r>
              <a:rPr lang="es-ES" dirty="0"/>
              <a:t> </a:t>
            </a:r>
            <a:r>
              <a:rPr lang="es-ES" dirty="0" err="1"/>
              <a:t>name</a:t>
            </a:r>
            <a:r>
              <a:rPr lang="es-ES" dirty="0"/>
              <a:t> </a:t>
            </a:r>
            <a:r>
              <a:rPr lang="es-ES" dirty="0" err="1"/>
              <a:t>or</a:t>
            </a:r>
            <a:r>
              <a:rPr lang="es-ES" dirty="0"/>
              <a:t> logo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7EA3451E-809A-4248-90BA-C78E40F9E5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6482" y="6537960"/>
            <a:ext cx="512647" cy="13502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C0782703-CD55-4B82-BBCD-D7A5F4D9B136}"/>
              </a:ext>
            </a:extLst>
          </p:cNvPr>
          <p:cNvSpPr txBox="1">
            <a:spLocks/>
          </p:cNvSpPr>
          <p:nvPr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18" name="TextBox 11">
            <a:extLst>
              <a:ext uri="{FF2B5EF4-FFF2-40B4-BE49-F238E27FC236}">
                <a16:creationId xmlns:a16="http://schemas.microsoft.com/office/drawing/2014/main" id="{B0DB44CA-E07F-4AA7-A089-EEFF38A0EF8A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29215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eal-Complex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AF0F34FD-74BB-4987-BA60-132047D3E8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43" y="0"/>
            <a:ext cx="121869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6898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-Simp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F4CABF-22B7-491A-BCEC-652B984459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480"/>
            <a:ext cx="12192000" cy="685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9470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-Complex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0A3313A2-6527-4F5A-B92B-F78A60A39A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43" y="0"/>
            <a:ext cx="121869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9487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-Simp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6235D69-1BC0-498E-AF52-047CADBA40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444"/>
            <a:ext cx="12192000" cy="6849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619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-Complex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D3801255-45C2-41DE-8DDD-62532AEAD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43" y="0"/>
            <a:ext cx="121869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2323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Green-Simp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F50CCD4A-5F31-4710-B556-38774E6FE8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43" y="0"/>
            <a:ext cx="121869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687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Green-Complex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44107C8-853E-4C48-AE23-3FF9D46ACC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58"/>
            <a:ext cx="12192000" cy="684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2434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325F6E90-0FD9-4124-8A87-709B225F5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9C353B79-FE02-42F4-93BB-6BDCF2EBA45D}"/>
              </a:ext>
            </a:extLst>
          </p:cNvPr>
          <p:cNvSpPr txBox="1">
            <a:spLocks/>
          </p:cNvSpPr>
          <p:nvPr userDrawn="1"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DD3D1DD9-44EA-49AC-89EE-D772B1401349}"/>
              </a:ext>
            </a:extLst>
          </p:cNvPr>
          <p:cNvSpPr txBox="1"/>
          <p:nvPr userDrawn="1"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753358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ECFB2E6-6A39-4B27-AFED-5EF9D10D64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6F86F96-B341-4496-8AD6-50F70341D6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506C2F91-8FBE-4580-80B4-9ED36D568F34}"/>
              </a:ext>
            </a:extLst>
          </p:cNvPr>
          <p:cNvSpPr txBox="1">
            <a:spLocks/>
          </p:cNvSpPr>
          <p:nvPr userDrawn="1"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C413B2B6-24BA-411A-9ED1-1B8ADAF3DBF7}"/>
              </a:ext>
            </a:extLst>
          </p:cNvPr>
          <p:cNvSpPr txBox="1"/>
          <p:nvPr userDrawn="1"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079224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4251B8-AC56-4997-A516-C8D27BEFF4F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84B6774-96AB-41D8-940D-09ED457C8D27}"/>
              </a:ext>
            </a:extLst>
          </p:cNvPr>
          <p:cNvSpPr txBox="1">
            <a:spLocks/>
          </p:cNvSpPr>
          <p:nvPr userDrawn="1"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8" name="Marcador de número de diapositiva 2">
            <a:extLst>
              <a:ext uri="{FF2B5EF4-FFF2-40B4-BE49-F238E27FC236}">
                <a16:creationId xmlns:a16="http://schemas.microsoft.com/office/drawing/2014/main" id="{A1DE5543-7217-4DDA-B038-4117397301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76482" y="6537960"/>
            <a:ext cx="512647" cy="135026"/>
          </a:xfrm>
        </p:spPr>
        <p:txBody>
          <a:bodyPr/>
          <a:lstStyle/>
          <a:p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3773FD94-C77C-4032-BB03-3538112DAD06}"/>
              </a:ext>
            </a:extLst>
          </p:cNvPr>
          <p:cNvSpPr txBox="1"/>
          <p:nvPr userDrawn="1"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529500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ock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0921A161-2459-411B-A01D-9CD01E9FB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0"/>
            <a:ext cx="12192001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00">
                <a:noFill/>
              </a:defRPr>
            </a:lvl1pPr>
            <a:lvl2pPr marL="0" indent="0">
              <a:buFont typeface="Arial" panose="020B0604020202020204" pitchFamily="34" charset="0"/>
              <a:buNone/>
              <a:defRPr sz="400">
                <a:noFill/>
              </a:defRPr>
            </a:lvl2pPr>
            <a:lvl3pPr marL="0" indent="0">
              <a:buFont typeface="Arial" panose="020B0604020202020204" pitchFamily="34" charset="0"/>
              <a:buNone/>
              <a:defRPr sz="400">
                <a:noFill/>
              </a:defRPr>
            </a:lvl3pPr>
            <a:lvl4pPr marL="0" indent="0">
              <a:buFont typeface="Arial" panose="020B0604020202020204" pitchFamily="34" charset="0"/>
              <a:buNone/>
              <a:defRPr sz="400">
                <a:noFill/>
              </a:defRPr>
            </a:lvl4pPr>
            <a:lvl5pPr marL="0" indent="0">
              <a:buFont typeface="Arial" panose="020B0604020202020204" pitchFamily="34" charset="0"/>
              <a:buNone/>
              <a:defRPr sz="400">
                <a:noFill/>
              </a:defRPr>
            </a:lvl5pPr>
            <a:lvl6pPr marL="0" indent="0">
              <a:buFont typeface="Arial" panose="020B0604020202020204" pitchFamily="34" charset="0"/>
              <a:buNone/>
              <a:defRPr sz="400">
                <a:noFill/>
              </a:defRPr>
            </a:lvl6pPr>
            <a:lvl7pPr marL="0" indent="0">
              <a:buFont typeface="Arial" panose="020B0604020202020204" pitchFamily="34" charset="0"/>
              <a:buNone/>
              <a:defRPr sz="400">
                <a:noFill/>
              </a:defRPr>
            </a:lvl7pPr>
            <a:lvl8pPr marL="0" indent="0">
              <a:buFont typeface="Arial" panose="020B0604020202020204" pitchFamily="34" charset="0"/>
              <a:buNone/>
              <a:defRPr sz="400">
                <a:noFill/>
              </a:defRPr>
            </a:lvl8pPr>
            <a:lvl9pPr marL="0" indent="0">
              <a:buFont typeface="Arial" panose="020B0604020202020204" pitchFamily="34" charset="0"/>
              <a:buNone/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28DCE401-17A4-4661-91F0-5AE4048B0312}"/>
              </a:ext>
            </a:extLst>
          </p:cNvPr>
          <p:cNvSpPr txBox="1">
            <a:spLocks/>
          </p:cNvSpPr>
          <p:nvPr/>
        </p:nvSpPr>
        <p:spPr>
          <a:xfrm>
            <a:off x="11839851" y="6445445"/>
            <a:ext cx="253112" cy="233341"/>
          </a:xfrm>
          <a:prstGeom prst="rect">
            <a:avLst/>
          </a:prstGeom>
          <a:blipFill>
            <a:blip r:embed="rId3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262A02B0-884F-4759-9DB8-AA45891FB8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6810" y="5432425"/>
            <a:ext cx="3922973" cy="1012825"/>
          </a:xfrm>
          <a:prstGeom prst="rect">
            <a:avLst/>
          </a:prstGeom>
        </p:spPr>
        <p:txBody>
          <a:bodyPr anchor="ctr"/>
          <a:lstStyle>
            <a:lvl1pPr algn="ctr">
              <a:defRPr sz="3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s-ES" dirty="0" err="1"/>
              <a:t>Title</a:t>
            </a:r>
            <a:endParaRPr lang="en-AU" dirty="0"/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DB164A9F-C4F6-4A78-A8B1-391D583FCE08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915157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C4B853A-6ACC-410B-AF03-E2AFF2A6DB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2D49B4B2-0BA8-4CAA-9704-F2AF66419CC6}"/>
              </a:ext>
            </a:extLst>
          </p:cNvPr>
          <p:cNvSpPr txBox="1">
            <a:spLocks/>
          </p:cNvSpPr>
          <p:nvPr userDrawn="1"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9" name="Marcador de número de diapositiva 2">
            <a:extLst>
              <a:ext uri="{FF2B5EF4-FFF2-40B4-BE49-F238E27FC236}">
                <a16:creationId xmlns:a16="http://schemas.microsoft.com/office/drawing/2014/main" id="{B5B0B08F-AC86-437B-95B7-98D1E9AC98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76482" y="6537960"/>
            <a:ext cx="512647" cy="135026"/>
          </a:xfrm>
        </p:spPr>
        <p:txBody>
          <a:bodyPr/>
          <a:lstStyle/>
          <a:p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A8CF85FF-FF4A-47D5-BA20-F2C05DDA4D4A}"/>
              </a:ext>
            </a:extLst>
          </p:cNvPr>
          <p:cNvSpPr txBox="1"/>
          <p:nvPr userDrawn="1"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786219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C4B853A-6ACC-410B-AF03-E2AFF2A6DB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51437B06-850B-4E1A-9374-7059C3B7F526}"/>
              </a:ext>
            </a:extLst>
          </p:cNvPr>
          <p:cNvSpPr txBox="1">
            <a:spLocks/>
          </p:cNvSpPr>
          <p:nvPr userDrawn="1"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9" name="Marcador de número de diapositiva 2">
            <a:extLst>
              <a:ext uri="{FF2B5EF4-FFF2-40B4-BE49-F238E27FC236}">
                <a16:creationId xmlns:a16="http://schemas.microsoft.com/office/drawing/2014/main" id="{46E3C9B4-A8E4-4AE1-8F69-2E14E843614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76482" y="6537960"/>
            <a:ext cx="512647" cy="135026"/>
          </a:xfrm>
        </p:spPr>
        <p:txBody>
          <a:bodyPr/>
          <a:lstStyle/>
          <a:p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3663C168-19B0-4F3E-A727-D9695CBFCC9E}"/>
              </a:ext>
            </a:extLst>
          </p:cNvPr>
          <p:cNvSpPr txBox="1"/>
          <p:nvPr userDrawn="1"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637835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F7267C9-456F-487B-AF10-F923B326260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C49D026-F6D0-4D4A-AB3A-DE09CB3F8D71}"/>
              </a:ext>
            </a:extLst>
          </p:cNvPr>
          <p:cNvSpPr txBox="1">
            <a:spLocks/>
          </p:cNvSpPr>
          <p:nvPr userDrawn="1"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9" name="Marcador de número de diapositiva 2">
            <a:extLst>
              <a:ext uri="{FF2B5EF4-FFF2-40B4-BE49-F238E27FC236}">
                <a16:creationId xmlns:a16="http://schemas.microsoft.com/office/drawing/2014/main" id="{D9D73AD5-BB77-44EB-905D-76D2F1F10C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76482" y="6537960"/>
            <a:ext cx="512647" cy="135026"/>
          </a:xfrm>
        </p:spPr>
        <p:txBody>
          <a:bodyPr/>
          <a:lstStyle/>
          <a:p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CA8B7E84-ACD6-4729-9BBB-4D5AF51E9F4B}"/>
              </a:ext>
            </a:extLst>
          </p:cNvPr>
          <p:cNvSpPr txBox="1"/>
          <p:nvPr userDrawn="1"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333187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C4B853A-6ACC-410B-AF03-E2AFF2A6DB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Text Placeholder 19">
            <a:extLst>
              <a:ext uri="{FF2B5EF4-FFF2-40B4-BE49-F238E27FC236}">
                <a16:creationId xmlns:a16="http://schemas.microsoft.com/office/drawing/2014/main" id="{7E67101A-9C68-4535-83F7-531D90EB76B2}"/>
              </a:ext>
            </a:extLst>
          </p:cNvPr>
          <p:cNvSpPr txBox="1">
            <a:spLocks/>
          </p:cNvSpPr>
          <p:nvPr userDrawn="1"/>
        </p:nvSpPr>
        <p:spPr>
          <a:xfrm>
            <a:off x="130205" y="6445445"/>
            <a:ext cx="253112" cy="233341"/>
          </a:xfrm>
          <a:prstGeom prst="rect">
            <a:avLst/>
          </a:prstGeom>
          <a:blipFill>
            <a:blip r:embed="rId2"/>
            <a:stretch>
              <a:fillRect l="-47427" t="-38789" r="-47427" b="-46347"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00" kern="1200" spc="-30" baseline="0">
                <a:noFill/>
                <a:latin typeface="Raleway" panose="020B00030301010600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16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Clr>
                <a:schemeClr val="tx2"/>
              </a:buClr>
              <a:buSzPct val="114000"/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0" kern="1200" spc="-3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6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b="1" kern="1200" spc="30" baseline="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2000"/>
              </a:lnSpc>
              <a:spcBef>
                <a:spcPts val="1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None/>
              <a:defRPr sz="400" kern="1200" spc="-30" baseline="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" dirty="0"/>
              <a:t>Click to edit Master text styles</a:t>
            </a:r>
          </a:p>
          <a:p>
            <a:pPr lvl="1"/>
            <a:r>
              <a:rPr lang="en-US" sz="400" dirty="0"/>
              <a:t>Second level</a:t>
            </a:r>
          </a:p>
          <a:p>
            <a:pPr lvl="2"/>
            <a:r>
              <a:rPr lang="en-US" sz="400" dirty="0"/>
              <a:t>Third level</a:t>
            </a:r>
          </a:p>
          <a:p>
            <a:pPr lvl="3"/>
            <a:r>
              <a:rPr lang="en-US" sz="400" dirty="0"/>
              <a:t>Fourth level</a:t>
            </a:r>
          </a:p>
          <a:p>
            <a:pPr lvl="4"/>
            <a:r>
              <a:rPr lang="en-US" sz="400" dirty="0"/>
              <a:t>Fifth level</a:t>
            </a:r>
          </a:p>
          <a:p>
            <a:pPr lvl="5"/>
            <a:r>
              <a:rPr lang="en-US" sz="400" dirty="0"/>
              <a:t>6</a:t>
            </a:r>
          </a:p>
          <a:p>
            <a:pPr lvl="6"/>
            <a:r>
              <a:rPr lang="en-US" sz="400" dirty="0"/>
              <a:t>7</a:t>
            </a:r>
          </a:p>
          <a:p>
            <a:pPr lvl="7"/>
            <a:r>
              <a:rPr lang="en-US" sz="400" dirty="0"/>
              <a:t>8</a:t>
            </a:r>
          </a:p>
          <a:p>
            <a:pPr lvl="8"/>
            <a:r>
              <a:rPr lang="en-US" sz="400" dirty="0"/>
              <a:t>9</a:t>
            </a:r>
            <a:endParaRPr lang="en-AU" sz="400" dirty="0"/>
          </a:p>
        </p:txBody>
      </p:sp>
      <p:sp>
        <p:nvSpPr>
          <p:cNvPr id="9" name="Marcador de número de diapositiva 2">
            <a:extLst>
              <a:ext uri="{FF2B5EF4-FFF2-40B4-BE49-F238E27FC236}">
                <a16:creationId xmlns:a16="http://schemas.microsoft.com/office/drawing/2014/main" id="{EDFD7706-E494-4BEB-A21B-9574106458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76482" y="6537960"/>
            <a:ext cx="512647" cy="135026"/>
          </a:xfrm>
        </p:spPr>
        <p:txBody>
          <a:bodyPr/>
          <a:lstStyle/>
          <a:p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B7FF3926-51B8-4AA2-BDA9-DC0611413E29}"/>
              </a:ext>
            </a:extLst>
          </p:cNvPr>
          <p:cNvSpPr txBox="1"/>
          <p:nvPr userDrawn="1"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764667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Yellow-Simp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0626F17-66B9-4C36-BA93-F9500ABA8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52D6E32-4CF2-4BE0-BF28-74F6D8248E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962"/>
          <a:stretch/>
        </p:blipFill>
        <p:spPr>
          <a:xfrm>
            <a:off x="0" y="4447"/>
            <a:ext cx="12192000" cy="6440742"/>
          </a:xfrm>
          <a:prstGeom prst="rect">
            <a:avLst/>
          </a:prstGeom>
        </p:spPr>
      </p:pic>
      <p:sp>
        <p:nvSpPr>
          <p:cNvPr id="6" name="TextBox 11">
            <a:extLst>
              <a:ext uri="{FF2B5EF4-FFF2-40B4-BE49-F238E27FC236}">
                <a16:creationId xmlns:a16="http://schemas.microsoft.com/office/drawing/2014/main" id="{1D5732EC-3B71-4D28-A832-6907D65E8B19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9844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Teal-Simp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0626F17-66B9-4C36-BA93-F9500ABA8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pic>
        <p:nvPicPr>
          <p:cNvPr id="4" name="Picture 14">
            <a:extLst>
              <a:ext uri="{FF2B5EF4-FFF2-40B4-BE49-F238E27FC236}">
                <a16:creationId xmlns:a16="http://schemas.microsoft.com/office/drawing/2014/main" id="{3A6B40E8-E5CF-4F3A-B2E1-BAA77BA663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481"/>
          <a:stretch/>
        </p:blipFill>
        <p:spPr>
          <a:xfrm>
            <a:off x="0" y="4447"/>
            <a:ext cx="12192000" cy="6405232"/>
          </a:xfrm>
          <a:prstGeom prst="rect">
            <a:avLst/>
          </a:prstGeom>
        </p:spPr>
      </p:pic>
      <p:sp>
        <p:nvSpPr>
          <p:cNvPr id="6" name="TextBox 11">
            <a:extLst>
              <a:ext uri="{FF2B5EF4-FFF2-40B4-BE49-F238E27FC236}">
                <a16:creationId xmlns:a16="http://schemas.microsoft.com/office/drawing/2014/main" id="{BA3B55A0-4474-40EF-99EA-C22FE0E5D549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9121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Teal-Complex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0626F17-66B9-4C36-BA93-F9500ABA8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8C8C83F-DB1A-4BD2-9E6E-21988094F2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493"/>
          <a:stretch/>
        </p:blipFill>
        <p:spPr>
          <a:xfrm>
            <a:off x="0" y="3480"/>
            <a:ext cx="12192000" cy="6406198"/>
          </a:xfrm>
          <a:prstGeom prst="rect">
            <a:avLst/>
          </a:prstGeom>
        </p:spPr>
      </p:pic>
      <p:sp>
        <p:nvSpPr>
          <p:cNvPr id="6" name="TextBox 11">
            <a:extLst>
              <a:ext uri="{FF2B5EF4-FFF2-40B4-BE49-F238E27FC236}">
                <a16:creationId xmlns:a16="http://schemas.microsoft.com/office/drawing/2014/main" id="{2C061DB2-C41F-4A5E-A995-AB96B0854926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23489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Red-Simp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0626F17-66B9-4C36-BA93-F9500ABA8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39980434-7605-4206-97D1-17E51A6C149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481"/>
          <a:stretch/>
        </p:blipFill>
        <p:spPr>
          <a:xfrm>
            <a:off x="0" y="4447"/>
            <a:ext cx="12192000" cy="6405232"/>
          </a:xfrm>
          <a:prstGeom prst="rect">
            <a:avLst/>
          </a:prstGeom>
        </p:spPr>
      </p:pic>
      <p:sp>
        <p:nvSpPr>
          <p:cNvPr id="6" name="TextBox 11">
            <a:extLst>
              <a:ext uri="{FF2B5EF4-FFF2-40B4-BE49-F238E27FC236}">
                <a16:creationId xmlns:a16="http://schemas.microsoft.com/office/drawing/2014/main" id="{7E068B68-0772-4544-AE12-3F0FBB9130B0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89671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Red-Complex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0626F17-66B9-4C36-BA93-F9500ABA8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  <p:pic>
        <p:nvPicPr>
          <p:cNvPr id="4" name="Picture 5">
            <a:extLst>
              <a:ext uri="{FF2B5EF4-FFF2-40B4-BE49-F238E27FC236}">
                <a16:creationId xmlns:a16="http://schemas.microsoft.com/office/drawing/2014/main" id="{0632A6DB-0C73-44C6-B84E-616870AEE8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579"/>
          <a:stretch/>
        </p:blipFill>
        <p:spPr>
          <a:xfrm>
            <a:off x="0" y="4446"/>
            <a:ext cx="12192000" cy="6398489"/>
          </a:xfrm>
          <a:prstGeom prst="rect">
            <a:avLst/>
          </a:prstGeom>
        </p:spPr>
      </p:pic>
      <p:sp>
        <p:nvSpPr>
          <p:cNvPr id="5" name="TextBox 11">
            <a:extLst>
              <a:ext uri="{FF2B5EF4-FFF2-40B4-BE49-F238E27FC236}">
                <a16:creationId xmlns:a16="http://schemas.microsoft.com/office/drawing/2014/main" id="{0364C097-3B84-40F6-A1CE-ABA821044485}"/>
              </a:ext>
            </a:extLst>
          </p:cNvPr>
          <p:cNvSpPr txBox="1"/>
          <p:nvPr/>
        </p:nvSpPr>
        <p:spPr>
          <a:xfrm>
            <a:off x="9297987" y="6663853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chemeClr val="bg1"/>
                </a:solidFill>
                <a:latin typeface="+mn-lt"/>
                <a:cs typeface="+mn-cs"/>
              </a:rPr>
              <a:t>Copyright © 2020 Polle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78931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76FB066-C15C-448E-80FE-471450847C90}"/>
              </a:ext>
            </a:extLst>
          </p:cNvPr>
          <p:cNvSpPr/>
          <p:nvPr/>
        </p:nvSpPr>
        <p:spPr>
          <a:xfrm>
            <a:off x="0" y="-3000"/>
            <a:ext cx="12192000" cy="6861000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223EC0B6-C888-4365-816D-B4E628E4E5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6482" y="6537960"/>
            <a:ext cx="512647" cy="13502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DF55D992-E3B6-4B6E-9F35-DFD2FC76166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66429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04" r:id="rId21"/>
    <p:sldLayoutId id="2147483705" r:id="rId2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kern="100" cap="all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2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600" kern="1200" spc="-31" baseline="0">
          <a:solidFill>
            <a:schemeClr val="bg1"/>
          </a:solidFill>
          <a:latin typeface="Raleway" panose="020B0003030101060003" pitchFamily="34" charset="0"/>
          <a:ea typeface="+mn-ea"/>
          <a:cs typeface="+mn-cs"/>
        </a:defRPr>
      </a:lvl1pPr>
      <a:lvl2pPr marL="410390" indent="-410390" algn="l" defTabSz="914377" rtl="0" eaLnBrk="1" latinLnBrk="0" hangingPunct="1">
        <a:lnSpc>
          <a:spcPct val="112000"/>
        </a:lnSpc>
        <a:spcBef>
          <a:spcPts val="0"/>
        </a:spcBef>
        <a:spcAft>
          <a:spcPts val="1600"/>
        </a:spcAft>
        <a:buClr>
          <a:schemeClr val="tx2"/>
        </a:buClr>
        <a:buSzPct val="110000"/>
        <a:buFont typeface="Wingdings 2" panose="05020102010507070707" pitchFamily="18" charset="2"/>
        <a:buChar char="Â"/>
        <a:defRPr sz="1600" kern="1200" spc="-31" baseline="0">
          <a:solidFill>
            <a:schemeClr val="bg1"/>
          </a:solidFill>
          <a:latin typeface="+mn-lt"/>
          <a:ea typeface="+mn-ea"/>
          <a:cs typeface="+mn-cs"/>
        </a:defRPr>
      </a:lvl2pPr>
      <a:lvl3pPr marL="359991" indent="-413990" algn="l" defTabSz="914377" rtl="0" eaLnBrk="1" latinLnBrk="0" hangingPunct="1">
        <a:lnSpc>
          <a:spcPct val="112000"/>
        </a:lnSpc>
        <a:spcBef>
          <a:spcPts val="600"/>
        </a:spcBef>
        <a:buClr>
          <a:schemeClr val="tx2"/>
        </a:buClr>
        <a:buSzPct val="114000"/>
        <a:buFont typeface="Wingdings 2" panose="05020102010507070707" pitchFamily="18" charset="2"/>
        <a:buChar char="Â"/>
        <a:defRPr sz="1400" kern="1200" spc="-31" baseline="0">
          <a:solidFill>
            <a:schemeClr val="bg1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12000"/>
        </a:lnSpc>
        <a:spcBef>
          <a:spcPts val="600"/>
        </a:spcBef>
        <a:buFont typeface="Arial" panose="020B0604020202020204" pitchFamily="34" charset="0"/>
        <a:buNone/>
        <a:defRPr sz="1600" b="0" kern="1200" spc="-31" baseline="0">
          <a:solidFill>
            <a:schemeClr val="bg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12000"/>
        </a:lnSpc>
        <a:spcBef>
          <a:spcPts val="600"/>
        </a:spcBef>
        <a:buFont typeface="Arial" panose="020B0604020202020204" pitchFamily="34" charset="0"/>
        <a:buNone/>
        <a:defRPr sz="1600" kern="1200" spc="-31" baseline="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12000"/>
        </a:lnSpc>
        <a:spcBef>
          <a:spcPts val="600"/>
        </a:spcBef>
        <a:buFont typeface="Arial" panose="020B0604020202020204" pitchFamily="34" charset="0"/>
        <a:buNone/>
        <a:defRPr sz="1600" kern="1200" spc="-31" baseline="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6000"/>
        </a:lnSpc>
        <a:spcBef>
          <a:spcPts val="600"/>
        </a:spcBef>
        <a:buFont typeface="Arial" panose="020B0604020202020204" pitchFamily="34" charset="0"/>
        <a:buNone/>
        <a:defRPr sz="1400" b="1" kern="1200" spc="31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12000"/>
        </a:lnSpc>
        <a:spcBef>
          <a:spcPts val="100"/>
        </a:spcBef>
        <a:buFont typeface="Arial" panose="020B0604020202020204" pitchFamily="34" charset="0"/>
        <a:buNone/>
        <a:defRPr sz="1200" kern="1200" spc="-31" baseline="0">
          <a:solidFill>
            <a:schemeClr val="bg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2000"/>
        </a:lnSpc>
        <a:spcBef>
          <a:spcPts val="600"/>
        </a:spcBef>
        <a:buFont typeface="Arial" panose="020B0604020202020204" pitchFamily="34" charset="0"/>
        <a:buNone/>
        <a:defRPr sz="1600" kern="1200" spc="-31" baseline="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223EC0B6-C888-4365-816D-B4E628E4E5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6482" y="6537960"/>
            <a:ext cx="512647" cy="13502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1862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kern="100" cap="all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2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600" kern="1200" spc="-31" baseline="0">
          <a:solidFill>
            <a:schemeClr val="bg1"/>
          </a:solidFill>
          <a:latin typeface="Raleway" panose="020B0003030101060003" pitchFamily="34" charset="0"/>
          <a:ea typeface="+mn-ea"/>
          <a:cs typeface="+mn-cs"/>
        </a:defRPr>
      </a:lvl1pPr>
      <a:lvl2pPr marL="410390" indent="-410390" algn="l" defTabSz="914377" rtl="0" eaLnBrk="1" latinLnBrk="0" hangingPunct="1">
        <a:lnSpc>
          <a:spcPct val="112000"/>
        </a:lnSpc>
        <a:spcBef>
          <a:spcPts val="0"/>
        </a:spcBef>
        <a:spcAft>
          <a:spcPts val="1600"/>
        </a:spcAft>
        <a:buClr>
          <a:schemeClr val="tx2"/>
        </a:buClr>
        <a:buSzPct val="110000"/>
        <a:buFont typeface="Wingdings 2" panose="05020102010507070707" pitchFamily="18" charset="2"/>
        <a:buChar char="Â"/>
        <a:defRPr sz="1600" kern="1200" spc="-31" baseline="0">
          <a:solidFill>
            <a:schemeClr val="bg1"/>
          </a:solidFill>
          <a:latin typeface="+mn-lt"/>
          <a:ea typeface="+mn-ea"/>
          <a:cs typeface="+mn-cs"/>
        </a:defRPr>
      </a:lvl2pPr>
      <a:lvl3pPr marL="359991" indent="-413990" algn="l" defTabSz="914377" rtl="0" eaLnBrk="1" latinLnBrk="0" hangingPunct="1">
        <a:lnSpc>
          <a:spcPct val="112000"/>
        </a:lnSpc>
        <a:spcBef>
          <a:spcPts val="600"/>
        </a:spcBef>
        <a:buClr>
          <a:schemeClr val="tx2"/>
        </a:buClr>
        <a:buSzPct val="114000"/>
        <a:buFont typeface="Wingdings 2" panose="05020102010507070707" pitchFamily="18" charset="2"/>
        <a:buChar char="Â"/>
        <a:defRPr sz="1400" kern="1200" spc="-31" baseline="0">
          <a:solidFill>
            <a:schemeClr val="bg1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12000"/>
        </a:lnSpc>
        <a:spcBef>
          <a:spcPts val="600"/>
        </a:spcBef>
        <a:buFont typeface="Arial" panose="020B0604020202020204" pitchFamily="34" charset="0"/>
        <a:buNone/>
        <a:defRPr sz="1600" b="0" kern="1200" spc="-31" baseline="0">
          <a:solidFill>
            <a:schemeClr val="bg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12000"/>
        </a:lnSpc>
        <a:spcBef>
          <a:spcPts val="600"/>
        </a:spcBef>
        <a:buFont typeface="Arial" panose="020B0604020202020204" pitchFamily="34" charset="0"/>
        <a:buNone/>
        <a:defRPr sz="1600" kern="1200" spc="-31" baseline="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12000"/>
        </a:lnSpc>
        <a:spcBef>
          <a:spcPts val="600"/>
        </a:spcBef>
        <a:buFont typeface="Arial" panose="020B0604020202020204" pitchFamily="34" charset="0"/>
        <a:buNone/>
        <a:defRPr sz="1600" kern="1200" spc="-31" baseline="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6000"/>
        </a:lnSpc>
        <a:spcBef>
          <a:spcPts val="600"/>
        </a:spcBef>
        <a:buFont typeface="Arial" panose="020B0604020202020204" pitchFamily="34" charset="0"/>
        <a:buNone/>
        <a:defRPr sz="1400" b="1" kern="1200" spc="31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12000"/>
        </a:lnSpc>
        <a:spcBef>
          <a:spcPts val="100"/>
        </a:spcBef>
        <a:buFont typeface="Arial" panose="020B0604020202020204" pitchFamily="34" charset="0"/>
        <a:buNone/>
        <a:defRPr sz="1200" kern="1200" spc="-31" baseline="0">
          <a:solidFill>
            <a:schemeClr val="bg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2000"/>
        </a:lnSpc>
        <a:spcBef>
          <a:spcPts val="600"/>
        </a:spcBef>
        <a:buFont typeface="Arial" panose="020B0604020202020204" pitchFamily="34" charset="0"/>
        <a:buNone/>
        <a:defRPr sz="1600" kern="1200" spc="-31" baseline="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microsoft.com/office/2007/relationships/hdphoto" Target="../media/hdphoto2.wdp"/><Relationship Id="rId2" Type="http://schemas.openxmlformats.org/officeDocument/2006/relationships/tags" Target="../tags/tag2.xml"/><Relationship Id="rId16" Type="http://schemas.openxmlformats.org/officeDocument/2006/relationships/image" Target="../media/image30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microsoft.com/office/2007/relationships/hdphoto" Target="../media/hdphoto1.wdp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microsoft.com/office/2007/relationships/hdphoto" Target="../media/hdphoto2.wdp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0.png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2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microsoft.com/office/2007/relationships/hdphoto" Target="../media/hdphoto2.wdp"/><Relationship Id="rId4" Type="http://schemas.openxmlformats.org/officeDocument/2006/relationships/diagramData" Target="../diagrams/data1.xml"/><Relationship Id="rId9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D501FD6-B9DE-4E76-A179-DD84788B00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CA7FC6-CEAD-4428-9A5A-B37974F682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3600" kern="100" cap="all" spc="-100" dirty="0">
                <a:solidFill>
                  <a:srgbClr val="FFC90D"/>
                </a:solidFill>
                <a:latin typeface="Raleway"/>
                <a:ea typeface="+mj-ea"/>
                <a:cs typeface="+mj-cs"/>
              </a:rPr>
              <a:t>Gemba WITH PURPOSE</a:t>
            </a:r>
            <a:endParaRPr lang="en-A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C40075-9DFE-49E6-A8B0-C1C582E290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HOW TO GUIDE AND TEMPLA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289149-AD08-4580-85A1-02DC88241D7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AU" dirty="0"/>
              <a:t>MARCH 2020</a:t>
            </a:r>
          </a:p>
        </p:txBody>
      </p:sp>
    </p:spTree>
    <p:extLst>
      <p:ext uri="{BB962C8B-B14F-4D97-AF65-F5344CB8AC3E}">
        <p14:creationId xmlns:p14="http://schemas.microsoft.com/office/powerpoint/2010/main" val="28752968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7AD1300C-2006-41FD-8848-F384D4DD1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5300" y="177800"/>
            <a:ext cx="8503920" cy="531278"/>
          </a:xfrm>
        </p:spPr>
        <p:txBody>
          <a:bodyPr>
            <a:normAutofit fontScale="90000"/>
          </a:bodyPr>
          <a:lstStyle/>
          <a:p>
            <a:r>
              <a:rPr lang="en-GB" sz="3600" dirty="0"/>
              <a:t>Gemba</a:t>
            </a:r>
            <a:r>
              <a:rPr lang="en-GB" dirty="0"/>
              <a:t> WITH purpose – One pager</a:t>
            </a:r>
            <a:endParaRPr lang="en-GB" sz="36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488952-D946-4056-8536-118C65DA49B8}"/>
              </a:ext>
            </a:extLst>
          </p:cNvPr>
          <p:cNvGrpSpPr/>
          <p:nvPr/>
        </p:nvGrpSpPr>
        <p:grpSpPr>
          <a:xfrm>
            <a:off x="497712" y="607970"/>
            <a:ext cx="7639291" cy="699969"/>
            <a:chOff x="1952625" y="1057183"/>
            <a:chExt cx="8180544" cy="543493"/>
          </a:xfrm>
          <a:solidFill>
            <a:schemeClr val="bg1">
              <a:lumMod val="95000"/>
            </a:schemeClr>
          </a:solidFill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5E18469-18CA-4DF7-AEE8-8F623944042A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1952625" y="1067494"/>
              <a:ext cx="8180544" cy="533182"/>
            </a:xfrm>
            <a:prstGeom prst="roundRect">
              <a:avLst/>
            </a:prstGeom>
            <a:solidFill>
              <a:schemeClr val="accent1"/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400">
                  <a:solidFill>
                    <a:srgbClr val="FFFFFF"/>
                  </a:solidFill>
                </a:defRPr>
              </a:lvl1pPr>
            </a:lstStyle>
            <a:p>
              <a:pPr algn="l"/>
              <a:r>
                <a:rPr lang="en-GB" dirty="0">
                  <a:solidFill>
                    <a:schemeClr val="bg1">
                      <a:lumMod val="95000"/>
                    </a:schemeClr>
                  </a:solidFill>
                </a:rPr>
                <a:t>	</a:t>
              </a:r>
            </a:p>
            <a:p>
              <a:pPr algn="l"/>
              <a:r>
                <a:rPr lang="en-GB" dirty="0">
                  <a:solidFill>
                    <a:schemeClr val="bg1">
                      <a:lumMod val="95000"/>
                    </a:schemeClr>
                  </a:solidFill>
                </a:rPr>
                <a:t>Gemba with a Purpose is a process by which all leaders ‘go see’, coach and develop their people to solve problems to deliver business goals</a:t>
              </a:r>
              <a:r>
                <a:rPr lang="en-GB" i="1" dirty="0">
                  <a:solidFill>
                    <a:schemeClr val="bg1">
                      <a:lumMod val="95000"/>
                    </a:schemeClr>
                  </a:solidFill>
                </a:rPr>
                <a:t>.</a:t>
              </a:r>
            </a:p>
          </p:txBody>
        </p:sp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CD46A47A-1F4F-464C-8FAD-26BE0E40A134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2053449" y="1057183"/>
              <a:ext cx="2546266" cy="185078"/>
            </a:xfrm>
            <a:prstGeom prst="roundRect">
              <a:avLst/>
            </a:prstGeom>
            <a:solidFill>
              <a:schemeClr val="accent1"/>
            </a:solidFill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rgbClr val="F0AB00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accent1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999999"/>
                </a:buClr>
              </a:pPr>
              <a:r>
                <a:rPr lang="en-GB" sz="1400" b="1" dirty="0">
                  <a:solidFill>
                    <a:schemeClr val="bg1">
                      <a:lumMod val="95000"/>
                    </a:schemeClr>
                  </a:solidFill>
                </a:rPr>
                <a:t>Definition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73204D1-EE32-4BC7-B438-158FCE39FF96}"/>
              </a:ext>
            </a:extLst>
          </p:cNvPr>
          <p:cNvGrpSpPr/>
          <p:nvPr/>
        </p:nvGrpSpPr>
        <p:grpSpPr>
          <a:xfrm>
            <a:off x="497711" y="1407190"/>
            <a:ext cx="4120588" cy="3026453"/>
            <a:chOff x="1952625" y="1649377"/>
            <a:chExt cx="3477482" cy="2697109"/>
          </a:xfrm>
        </p:grpSpPr>
        <p:sp>
          <p:nvSpPr>
            <p:cNvPr id="17" name="Freeform 49">
              <a:extLst>
                <a:ext uri="{FF2B5EF4-FFF2-40B4-BE49-F238E27FC236}">
                  <a16:creationId xmlns:a16="http://schemas.microsoft.com/office/drawing/2014/main" id="{1E07B972-9199-4F28-BDD8-0F2EBA98BB3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952625" y="1649377"/>
              <a:ext cx="3477482" cy="2545565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" name="Rectangle 21">
              <a:extLst>
                <a:ext uri="{FF2B5EF4-FFF2-40B4-BE49-F238E27FC236}">
                  <a16:creationId xmlns:a16="http://schemas.microsoft.com/office/drawing/2014/main" id="{1DCBDBD1-7138-427A-9FB7-FEB60CE193F7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2055524" y="1712388"/>
              <a:ext cx="2546266" cy="191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rgbClr val="F0AB00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accent1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999999"/>
                </a:buClr>
              </a:pPr>
              <a:r>
                <a:rPr lang="en-GB" sz="1400" b="1" dirty="0">
                  <a:solidFill>
                    <a:schemeClr val="bg1">
                      <a:lumMod val="95000"/>
                    </a:schemeClr>
                  </a:solidFill>
                </a:rPr>
                <a:t>Purpose</a:t>
              </a:r>
            </a:p>
          </p:txBody>
        </p:sp>
        <p:sp>
          <p:nvSpPr>
            <p:cNvPr id="21" name="Rectangle 13">
              <a:extLst>
                <a:ext uri="{FF2B5EF4-FFF2-40B4-BE49-F238E27FC236}">
                  <a16:creationId xmlns:a16="http://schemas.microsoft.com/office/drawing/2014/main" id="{B957ECE6-5D7F-4077-BCE3-4E4AF5C18DC1}"/>
                </a:ext>
              </a:extLst>
            </p:cNvPr>
            <p:cNvSpPr txBox="1"/>
            <p:nvPr/>
          </p:nvSpPr>
          <p:spPr>
            <a:xfrm>
              <a:off x="2027259" y="2015074"/>
              <a:ext cx="3219968" cy="23314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rgbClr val="F0AB00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accent1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Font typeface="Wingdings" panose="05000000000000000000" pitchFamily="2" charset="2"/>
                <a:buChar char="§"/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To ‘go see’ and confirm what is happening (against the standards) at the place where work is done.</a:t>
              </a:r>
            </a:p>
            <a:p>
              <a:pPr lvl="1">
                <a:buFont typeface="Wingdings" panose="05000000000000000000" pitchFamily="2" charset="2"/>
                <a:buChar char="§"/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To ensure that standards for the 4M’s (Man, Material, Method, Machine) are in place and in use resulting in performance moving towards performance goals.</a:t>
              </a:r>
            </a:p>
            <a:p>
              <a:pPr lvl="1">
                <a:buFont typeface="Wingdings" panose="05000000000000000000" pitchFamily="2" charset="2"/>
                <a:buChar char="§"/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To align and engage the teams around the delivery of business goals .   </a:t>
              </a:r>
            </a:p>
            <a:p>
              <a:pPr lvl="1">
                <a:buFont typeface="Wingdings" panose="05000000000000000000" pitchFamily="2" charset="2"/>
                <a:buChar char="§"/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 To develop people to reveal and solve problems to deliver business goals.</a:t>
              </a:r>
            </a:p>
            <a:p>
              <a:pPr lvl="1">
                <a:buNone/>
              </a:pPr>
              <a:r>
                <a:rPr lang="en-GB" sz="1600" i="1" dirty="0">
                  <a:solidFill>
                    <a:schemeClr val="bg1">
                      <a:lumMod val="95000"/>
                    </a:schemeClr>
                  </a:solidFill>
                </a:rPr>
                <a:t>               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4128BCD-3D8F-4FD9-A4CF-2C89F37F589F}"/>
              </a:ext>
            </a:extLst>
          </p:cNvPr>
          <p:cNvGrpSpPr/>
          <p:nvPr/>
        </p:nvGrpSpPr>
        <p:grpSpPr>
          <a:xfrm>
            <a:off x="497711" y="4348993"/>
            <a:ext cx="4120588" cy="2293422"/>
            <a:chOff x="1952625" y="4256394"/>
            <a:chExt cx="2260098" cy="1916654"/>
          </a:xfrm>
        </p:grpSpPr>
        <p:sp>
          <p:nvSpPr>
            <p:cNvPr id="13" name="Freeform 55">
              <a:extLst>
                <a:ext uri="{FF2B5EF4-FFF2-40B4-BE49-F238E27FC236}">
                  <a16:creationId xmlns:a16="http://schemas.microsoft.com/office/drawing/2014/main" id="{4BF820BA-9F2D-4872-8B3D-EC1D07BA2348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952625" y="4256394"/>
              <a:ext cx="2260098" cy="191665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21">
              <a:extLst>
                <a:ext uri="{FF2B5EF4-FFF2-40B4-BE49-F238E27FC236}">
                  <a16:creationId xmlns:a16="http://schemas.microsoft.com/office/drawing/2014/main" id="{AB74931A-CA18-438C-908E-3EAB1FC2F9A6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2053450" y="4359194"/>
              <a:ext cx="1780027" cy="18005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rgbClr val="F0AB00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accent1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999999"/>
                </a:buClr>
              </a:pPr>
              <a:r>
                <a:rPr lang="en-GB" sz="1400" b="1" dirty="0">
                  <a:solidFill>
                    <a:schemeClr val="bg1">
                      <a:lumMod val="95000"/>
                    </a:schemeClr>
                  </a:solidFill>
                </a:rPr>
                <a:t>Expected outcomes</a:t>
              </a:r>
            </a:p>
          </p:txBody>
        </p:sp>
        <p:sp>
          <p:nvSpPr>
            <p:cNvPr id="22" name="Rectangle 18">
              <a:extLst>
                <a:ext uri="{FF2B5EF4-FFF2-40B4-BE49-F238E27FC236}">
                  <a16:creationId xmlns:a16="http://schemas.microsoft.com/office/drawing/2014/main" id="{1FDEF8B7-B5C2-4C52-80AB-57DB268154B5}"/>
                </a:ext>
              </a:extLst>
            </p:cNvPr>
            <p:cNvSpPr txBox="1"/>
            <p:nvPr/>
          </p:nvSpPr>
          <p:spPr>
            <a:xfrm>
              <a:off x="2058198" y="4622799"/>
              <a:ext cx="1904202" cy="14764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rgbClr val="F0AB00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accent1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"/>
                </a:spcBef>
              </a:pPr>
              <a:r>
                <a:rPr lang="en-US" sz="1400" dirty="0">
                  <a:solidFill>
                    <a:schemeClr val="bg1">
                      <a:lumMod val="95000"/>
                    </a:schemeClr>
                  </a:solidFill>
                </a:rPr>
                <a:t>Priority problems and improvement opportunities identified</a:t>
              </a:r>
            </a:p>
            <a:p>
              <a:pPr lvl="1">
                <a:spcBef>
                  <a:spcPct val="5000"/>
                </a:spcBef>
              </a:pPr>
              <a:r>
                <a:rPr lang="en-US" sz="1400" dirty="0">
                  <a:solidFill>
                    <a:schemeClr val="bg1">
                      <a:lumMod val="95000"/>
                    </a:schemeClr>
                  </a:solidFill>
                </a:rPr>
                <a:t>Raised capability to deliver business goals</a:t>
              </a:r>
            </a:p>
            <a:p>
              <a:pPr lvl="1">
                <a:spcBef>
                  <a:spcPct val="5000"/>
                </a:spcBef>
              </a:pPr>
              <a:r>
                <a:rPr lang="en-US" sz="1400" dirty="0">
                  <a:solidFill>
                    <a:schemeClr val="bg1">
                      <a:lumMod val="95000"/>
                    </a:schemeClr>
                  </a:solidFill>
                </a:rPr>
                <a:t>Aligned and engaged people delivering Continuous Improvement</a:t>
              </a:r>
            </a:p>
            <a:p>
              <a:pPr lvl="1">
                <a:spcBef>
                  <a:spcPct val="5000"/>
                </a:spcBef>
              </a:pPr>
              <a:endParaRPr lang="en-US" sz="1400" dirty="0">
                <a:solidFill>
                  <a:schemeClr val="bg1">
                    <a:lumMod val="95000"/>
                  </a:schemeClr>
                </a:solidFill>
              </a:endParaRPr>
            </a:p>
            <a:p>
              <a:pPr lvl="1">
                <a:spcBef>
                  <a:spcPct val="5000"/>
                </a:spcBef>
              </a:pPr>
              <a:endParaRPr lang="en-US" sz="14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C3E893C-2CF5-4D07-A91F-33BFD1B08200}"/>
              </a:ext>
            </a:extLst>
          </p:cNvPr>
          <p:cNvGrpSpPr/>
          <p:nvPr/>
        </p:nvGrpSpPr>
        <p:grpSpPr>
          <a:xfrm>
            <a:off x="8567038" y="1720645"/>
            <a:ext cx="3296594" cy="2089820"/>
            <a:chOff x="8309259" y="1646955"/>
            <a:chExt cx="1823911" cy="2599190"/>
          </a:xfrm>
        </p:grpSpPr>
        <p:sp>
          <p:nvSpPr>
            <p:cNvPr id="15" name="TextBox 10">
              <a:extLst>
                <a:ext uri="{FF2B5EF4-FFF2-40B4-BE49-F238E27FC236}">
                  <a16:creationId xmlns:a16="http://schemas.microsoft.com/office/drawing/2014/main" id="{171665C3-70E3-4690-8A43-4053740C913B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8309259" y="1646955"/>
              <a:ext cx="1823911" cy="254556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10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endParaRPr lang="en-GB" sz="11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" name="Rectangle 21">
              <a:extLst>
                <a:ext uri="{FF2B5EF4-FFF2-40B4-BE49-F238E27FC236}">
                  <a16:creationId xmlns:a16="http://schemas.microsoft.com/office/drawing/2014/main" id="{98BC68BA-85F3-42B3-A34B-0A256BAF1166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8388058" y="1687817"/>
              <a:ext cx="1274543" cy="2679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rgbClr val="F0AB00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accent1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999999"/>
                </a:buClr>
              </a:pPr>
              <a:r>
                <a:rPr lang="en-GB" sz="1400" b="1" dirty="0">
                  <a:solidFill>
                    <a:schemeClr val="bg1">
                      <a:lumMod val="95000"/>
                    </a:schemeClr>
                  </a:solidFill>
                </a:rPr>
                <a:t>Tools</a:t>
              </a:r>
            </a:p>
          </p:txBody>
        </p:sp>
        <p:sp>
          <p:nvSpPr>
            <p:cNvPr id="26" name="Rectangle 9">
              <a:extLst>
                <a:ext uri="{FF2B5EF4-FFF2-40B4-BE49-F238E27FC236}">
                  <a16:creationId xmlns:a16="http://schemas.microsoft.com/office/drawing/2014/main" id="{29457DBB-22AF-4C2F-AA33-58F47AFE0AFC}"/>
                </a:ext>
              </a:extLst>
            </p:cNvPr>
            <p:cNvSpPr txBox="1"/>
            <p:nvPr/>
          </p:nvSpPr>
          <p:spPr>
            <a:xfrm>
              <a:off x="8377953" y="2048910"/>
              <a:ext cx="1707259" cy="21972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rgbClr val="F0AB00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accent1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"/>
                </a:spcBef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4M’s as a model to manage the fundamentals of Safety, Quality, Cost and Service</a:t>
              </a:r>
            </a:p>
            <a:p>
              <a:pPr lvl="1">
                <a:spcBef>
                  <a:spcPct val="5000"/>
                </a:spcBef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Target Condition</a:t>
              </a:r>
            </a:p>
            <a:p>
              <a:pPr lvl="1">
                <a:spcBef>
                  <a:spcPct val="5000"/>
                </a:spcBef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Coaching</a:t>
              </a:r>
            </a:p>
            <a:p>
              <a:pPr lvl="1">
                <a:spcBef>
                  <a:spcPct val="5000"/>
                </a:spcBef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Process confirmation</a:t>
              </a:r>
            </a:p>
            <a:p>
              <a:pPr lvl="1">
                <a:spcBef>
                  <a:spcPct val="5000"/>
                </a:spcBef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Gemba Guide</a:t>
              </a:r>
              <a:endParaRPr lang="en-US" sz="1400" dirty="0">
                <a:solidFill>
                  <a:schemeClr val="bg1">
                    <a:lumMod val="95000"/>
                  </a:schemeClr>
                </a:solidFill>
              </a:endParaRPr>
            </a:p>
            <a:p>
              <a:pPr lvl="1"/>
              <a:endParaRPr lang="en-US" sz="14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AC90259-BC02-4673-AE55-DB58B09D1F4D}"/>
              </a:ext>
            </a:extLst>
          </p:cNvPr>
          <p:cNvGrpSpPr/>
          <p:nvPr/>
        </p:nvGrpSpPr>
        <p:grpSpPr>
          <a:xfrm>
            <a:off x="4740228" y="4347149"/>
            <a:ext cx="3050176" cy="2293422"/>
            <a:chOff x="4278964" y="4254549"/>
            <a:chExt cx="3594578" cy="191665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54B12AA-B880-4485-9D59-B53CFF745721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78964" y="4254549"/>
              <a:ext cx="3594578" cy="191665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10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endParaRPr lang="en-GB" sz="11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" name="Rectangle 21">
              <a:extLst>
                <a:ext uri="{FF2B5EF4-FFF2-40B4-BE49-F238E27FC236}">
                  <a16:creationId xmlns:a16="http://schemas.microsoft.com/office/drawing/2014/main" id="{3FA06408-1882-4C13-8DFC-FBDA92F745C0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4385080" y="4377383"/>
              <a:ext cx="2546266" cy="18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rgbClr val="F0AB00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accent1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999999"/>
                </a:buClr>
              </a:pPr>
              <a:r>
                <a:rPr lang="en-GB" sz="1400" b="1" dirty="0">
                  <a:solidFill>
                    <a:schemeClr val="bg1">
                      <a:lumMod val="95000"/>
                    </a:schemeClr>
                  </a:solidFill>
                </a:rPr>
                <a:t>What good looks like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AC19C3A-68C1-484F-9F91-E5AC98E19950}"/>
                </a:ext>
              </a:extLst>
            </p:cNvPr>
            <p:cNvSpPr txBox="1"/>
            <p:nvPr/>
          </p:nvSpPr>
          <p:spPr>
            <a:xfrm>
              <a:off x="4319888" y="4622924"/>
              <a:ext cx="3192335" cy="7973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i="1" dirty="0">
                  <a:solidFill>
                    <a:schemeClr val="bg1">
                      <a:lumMod val="95000"/>
                    </a:schemeClr>
                  </a:solidFill>
                </a:rPr>
                <a:t>Coaching</a:t>
              </a:r>
              <a:r>
                <a:rPr lang="en-GB" sz="1400" b="1" dirty="0">
                  <a:solidFill>
                    <a:schemeClr val="bg1">
                      <a:lumMod val="95000"/>
                    </a:schemeClr>
                  </a:solidFill>
                </a:rPr>
                <a:t>  </a:t>
              </a: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- Managers developing their people by getting them to solve problems by thinking for themselve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87D7D10-69E1-4AE0-8C83-311B90E6A58A}"/>
              </a:ext>
            </a:extLst>
          </p:cNvPr>
          <p:cNvGrpSpPr/>
          <p:nvPr/>
        </p:nvGrpSpPr>
        <p:grpSpPr>
          <a:xfrm>
            <a:off x="4740228" y="1401660"/>
            <a:ext cx="3734210" cy="3236277"/>
            <a:chOff x="5505158" y="1649377"/>
            <a:chExt cx="2760111" cy="2921584"/>
          </a:xfrm>
        </p:grpSpPr>
        <p:sp>
          <p:nvSpPr>
            <p:cNvPr id="16" name="Freeform 54">
              <a:extLst>
                <a:ext uri="{FF2B5EF4-FFF2-40B4-BE49-F238E27FC236}">
                  <a16:creationId xmlns:a16="http://schemas.microsoft.com/office/drawing/2014/main" id="{2B573E54-EC2F-4FAC-BEF6-53037FC53810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505158" y="1649377"/>
              <a:ext cx="2760111" cy="2545565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" name="Rectangle 21">
              <a:extLst>
                <a:ext uri="{FF2B5EF4-FFF2-40B4-BE49-F238E27FC236}">
                  <a16:creationId xmlns:a16="http://schemas.microsoft.com/office/drawing/2014/main" id="{9EF2E63E-F872-42B8-911F-0E0C9C85F5E6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>
            <a:xfrm>
              <a:off x="5613872" y="1709135"/>
              <a:ext cx="2546266" cy="189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rgbClr val="F0AB00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accent1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999999"/>
                </a:buClr>
              </a:pPr>
              <a:r>
                <a:rPr lang="en-GB" sz="1400" b="1" dirty="0">
                  <a:solidFill>
                    <a:schemeClr val="bg1">
                      <a:lumMod val="95000"/>
                    </a:schemeClr>
                  </a:solidFill>
                </a:rPr>
                <a:t>How to do it</a:t>
              </a: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308F2CD1-4124-4636-8159-02BF065E395F}"/>
                </a:ext>
              </a:extLst>
            </p:cNvPr>
            <p:cNvSpPr txBox="1"/>
            <p:nvPr/>
          </p:nvSpPr>
          <p:spPr>
            <a:xfrm>
              <a:off x="5573467" y="2033732"/>
              <a:ext cx="2627077" cy="25372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rgbClr val="F0AB00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accent1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accent1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344520" lvl="1" indent="-342900">
                <a:buSzPct val="100000"/>
                <a:buFont typeface="+mj-lt"/>
                <a:buAutoNum type="arabicPeriod"/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What will you be observing?</a:t>
              </a:r>
            </a:p>
            <a:p>
              <a:pPr marL="344520" lvl="1" indent="-342900">
                <a:buSzPct val="100000"/>
                <a:buFont typeface="+mj-lt"/>
                <a:buAutoNum type="arabicPeriod"/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What is the current state?</a:t>
              </a:r>
            </a:p>
            <a:p>
              <a:pPr marL="344520" lvl="1" indent="-342900">
                <a:buSzPct val="100000"/>
                <a:buFont typeface="+mj-lt"/>
                <a:buAutoNum type="arabicPeriod"/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What is the next target condition for this site/area?</a:t>
              </a:r>
            </a:p>
            <a:p>
              <a:pPr marL="344520" lvl="1" indent="-342900">
                <a:buSzPct val="100000"/>
                <a:buFont typeface="+mj-lt"/>
                <a:buAutoNum type="arabicPeriod"/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What problems need to be overcome or improvements made?</a:t>
              </a:r>
            </a:p>
            <a:p>
              <a:pPr marL="344520" lvl="1" indent="-342900">
                <a:buSzPct val="100000"/>
                <a:buFont typeface="+mj-lt"/>
                <a:buAutoNum type="arabicPeriod"/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Coach, then take action</a:t>
              </a:r>
            </a:p>
            <a:p>
              <a:pPr marL="344520" lvl="1" indent="-342900">
                <a:buSzPct val="100000"/>
                <a:buFont typeface="+mj-lt"/>
                <a:buAutoNum type="arabicPeriod"/>
              </a:pPr>
              <a:r>
                <a:rPr lang="en-GB" sz="1400" dirty="0">
                  <a:solidFill>
                    <a:schemeClr val="bg1">
                      <a:lumMod val="95000"/>
                    </a:schemeClr>
                  </a:solidFill>
                </a:rPr>
                <a:t>Can I answer these 3 questions:</a:t>
              </a:r>
            </a:p>
            <a:p>
              <a:pPr marL="613394" lvl="2" indent="-342900">
                <a:buClr>
                  <a:schemeClr val="accent5"/>
                </a:buClr>
                <a:buSzPct val="100000"/>
                <a:buFont typeface="+mj-lt"/>
                <a:buAutoNum type="arabicPeriod"/>
              </a:pPr>
              <a:r>
                <a:rPr lang="en-GB" sz="1400" i="1" dirty="0">
                  <a:solidFill>
                    <a:schemeClr val="bg1">
                      <a:lumMod val="95000"/>
                    </a:schemeClr>
                  </a:solidFill>
                </a:rPr>
                <a:t>What have I learned?</a:t>
              </a:r>
            </a:p>
            <a:p>
              <a:pPr marL="613394" lvl="2" indent="-342900">
                <a:buClr>
                  <a:schemeClr val="accent5"/>
                </a:buClr>
                <a:buSzPct val="100000"/>
                <a:buFont typeface="+mj-lt"/>
                <a:buAutoNum type="arabicPeriod"/>
              </a:pPr>
              <a:r>
                <a:rPr lang="en-GB" sz="1400" i="1" dirty="0">
                  <a:solidFill>
                    <a:schemeClr val="bg1">
                      <a:lumMod val="95000"/>
                    </a:schemeClr>
                  </a:solidFill>
                </a:rPr>
                <a:t>What have I taught?</a:t>
              </a:r>
            </a:p>
            <a:p>
              <a:pPr marL="613394" lvl="2" indent="-342900">
                <a:buClr>
                  <a:schemeClr val="accent5"/>
                </a:buClr>
                <a:buSzPct val="100000"/>
                <a:buFont typeface="+mj-lt"/>
                <a:buAutoNum type="arabicPeriod"/>
              </a:pPr>
              <a:r>
                <a:rPr lang="en-GB" sz="1400" i="1" dirty="0">
                  <a:solidFill>
                    <a:schemeClr val="bg1">
                      <a:lumMod val="95000"/>
                    </a:schemeClr>
                  </a:solidFill>
                </a:rPr>
                <a:t>What have I improved?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8FF1437C-AC89-459D-9C44-2559370080F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-2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999572" y="4015929"/>
            <a:ext cx="4100639" cy="2744937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>
              <a:lumMod val="95000"/>
            </a:schemeClr>
          </a:solidFill>
          <a:ln w="88900" cap="sq">
            <a:solidFill>
              <a:schemeClr val="accent1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54A9FDA1-9B48-486F-9947-ACE416B31175}"/>
              </a:ext>
            </a:extLst>
          </p:cNvPr>
          <p:cNvSpPr/>
          <p:nvPr/>
        </p:nvSpPr>
        <p:spPr>
          <a:xfrm>
            <a:off x="9377225" y="148705"/>
            <a:ext cx="2618004" cy="5414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5EC8936F-57E8-4AE0-908F-BAC24C51876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953" b="94787" l="2560" r="99744">
                        <a14:foregroundMark x1="4863" y1="42654" x2="4863" y2="42654"/>
                        <a14:foregroundMark x1="4949" y1="69194" x2="4949" y2="69194"/>
                        <a14:foregroundMark x1="2560" y1="68246" x2="2560" y2="68246"/>
                        <a14:foregroundMark x1="4949" y1="86256" x2="4949" y2="86256"/>
                        <a14:foregroundMark x1="19881" y1="51659" x2="19881" y2="51659"/>
                        <a14:foregroundMark x1="23294" y1="30332" x2="23294" y2="30332"/>
                        <a14:foregroundMark x1="43430" y1="37441" x2="43430" y2="37441"/>
                        <a14:foregroundMark x1="48038" y1="93839" x2="48038" y2="93839"/>
                        <a14:foregroundMark x1="44113" y1="94787" x2="44113" y2="94787"/>
                        <a14:foregroundMark x1="59471" y1="50237" x2="59471" y2="50237"/>
                        <a14:foregroundMark x1="78242" y1="57346" x2="78242" y2="57346"/>
                        <a14:foregroundMark x1="89846" y1="90995" x2="89846" y2="90995"/>
                        <a14:foregroundMark x1="89676" y1="70142" x2="89676" y2="70142"/>
                        <a14:foregroundMark x1="99744" y1="67773" x2="99744" y2="67773"/>
                        <a14:foregroundMark x1="58703" y1="14218" x2="58703" y2="14218"/>
                        <a14:foregroundMark x1="58788" y1="74882" x2="58788" y2="74882"/>
                        <a14:backgroundMark x1="15444" y1="94313" x2="15444" y2="94313"/>
                        <a14:backgroundMark x1="16382" y1="49763" x2="16382" y2="49763"/>
                        <a14:backgroundMark x1="17406" y1="31754" x2="17406" y2="31754"/>
                        <a14:backgroundMark x1="29693" y1="44076" x2="29693" y2="44076"/>
                        <a14:backgroundMark x1="41724" y1="36967" x2="41724" y2="36967"/>
                        <a14:backgroundMark x1="52986" y1="51185" x2="52986" y2="51185"/>
                        <a14:backgroundMark x1="68259" y1="45972" x2="68259" y2="45972"/>
                        <a14:backgroundMark x1="82850" y1="44076" x2="82850" y2="44076"/>
                        <a14:backgroundMark x1="93515" y1="26066" x2="93515" y2="26066"/>
                        <a14:backgroundMark x1="8618" y1="51185" x2="8618" y2="51185"/>
                        <a14:backgroundMark x1="1195" y1="24171" x2="1195" y2="24171"/>
                        <a14:backgroundMark x1="1792" y1="78199" x2="1792" y2="78199"/>
                        <a14:backgroundMark x1="17065" y1="78199" x2="17065" y2="781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5403" y="191131"/>
            <a:ext cx="2463137" cy="44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5495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8FD83B5-940D-4D7D-AA24-CFB9A3221DCD}"/>
              </a:ext>
            </a:extLst>
          </p:cNvPr>
          <p:cNvCxnSpPr>
            <a:cxnSpLocks/>
          </p:cNvCxnSpPr>
          <p:nvPr/>
        </p:nvCxnSpPr>
        <p:spPr>
          <a:xfrm flipV="1">
            <a:off x="1689904" y="3691841"/>
            <a:ext cx="7564728" cy="2609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2ABDC6C-44CE-4F7E-91EF-5E7AF6524004}"/>
              </a:ext>
            </a:extLst>
          </p:cNvPr>
          <p:cNvCxnSpPr>
            <a:cxnSpLocks/>
            <a:endCxn id="8" idx="2"/>
          </p:cNvCxnSpPr>
          <p:nvPr/>
        </p:nvCxnSpPr>
        <p:spPr>
          <a:xfrm flipH="1" flipV="1">
            <a:off x="3241088" y="1905535"/>
            <a:ext cx="1761456" cy="1770540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3ED69B-B7FA-446F-A794-CAB7CC642563}"/>
              </a:ext>
            </a:extLst>
          </p:cNvPr>
          <p:cNvCxnSpPr>
            <a:cxnSpLocks/>
            <a:endCxn id="11" idx="2"/>
          </p:cNvCxnSpPr>
          <p:nvPr/>
        </p:nvCxnSpPr>
        <p:spPr>
          <a:xfrm flipH="1" flipV="1">
            <a:off x="7043838" y="1926207"/>
            <a:ext cx="1533074" cy="1749868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88EB2D8-F165-4499-8420-98C62E9F5D47}"/>
              </a:ext>
            </a:extLst>
          </p:cNvPr>
          <p:cNvCxnSpPr>
            <a:cxnSpLocks/>
          </p:cNvCxnSpPr>
          <p:nvPr/>
        </p:nvCxnSpPr>
        <p:spPr>
          <a:xfrm flipH="1">
            <a:off x="3020886" y="3665564"/>
            <a:ext cx="1971148" cy="1727052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09F8773-D934-4A24-9468-D2EA669F3C3F}"/>
              </a:ext>
            </a:extLst>
          </p:cNvPr>
          <p:cNvCxnSpPr>
            <a:cxnSpLocks/>
            <a:endCxn id="10" idx="0"/>
          </p:cNvCxnSpPr>
          <p:nvPr/>
        </p:nvCxnSpPr>
        <p:spPr>
          <a:xfrm flipH="1">
            <a:off x="7081602" y="3694450"/>
            <a:ext cx="1506218" cy="1698166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9A278CE-C384-42D2-93BE-D02828380D29}"/>
              </a:ext>
            </a:extLst>
          </p:cNvPr>
          <p:cNvSpPr/>
          <p:nvPr/>
        </p:nvSpPr>
        <p:spPr>
          <a:xfrm>
            <a:off x="1479632" y="972159"/>
            <a:ext cx="3522912" cy="933376"/>
          </a:xfrm>
          <a:prstGeom prst="roundRect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GB" sz="1100" dirty="0">
                <a:solidFill>
                  <a:schemeClr val="bg1">
                    <a:lumMod val="95000"/>
                  </a:schemeClr>
                </a:solidFill>
              </a:rPr>
              <a:t>The pattern and cycle of work that is carried out.  Standardised to provide good quality product at the right cost, in the safest manner and to the necessary cycle time.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D5271F2-E746-4871-9B96-483E081BC1E4}"/>
              </a:ext>
            </a:extLst>
          </p:cNvPr>
          <p:cNvSpPr/>
          <p:nvPr/>
        </p:nvSpPr>
        <p:spPr>
          <a:xfrm>
            <a:off x="1364206" y="5369711"/>
            <a:ext cx="3522912" cy="933376"/>
          </a:xfrm>
          <a:prstGeom prst="roundRect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100" dirty="0">
                <a:solidFill>
                  <a:schemeClr val="bg1">
                    <a:lumMod val="95000"/>
                  </a:schemeClr>
                </a:solidFill>
              </a:rPr>
              <a:t>Material and components that are suitable for the product being produced.  Of the appropriate characteristics to produce good quality product and presented to the ‘Man’ in a manner that permits work to be carried out safely and efficiently.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8B4E358-D98B-4530-B389-62BD238EB81C}"/>
              </a:ext>
            </a:extLst>
          </p:cNvPr>
          <p:cNvSpPr/>
          <p:nvPr/>
        </p:nvSpPr>
        <p:spPr>
          <a:xfrm>
            <a:off x="5320146" y="5392616"/>
            <a:ext cx="3522912" cy="933376"/>
          </a:xfrm>
          <a:prstGeom prst="roundRect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100" dirty="0">
                <a:solidFill>
                  <a:schemeClr val="bg1">
                    <a:lumMod val="95000"/>
                  </a:schemeClr>
                </a:solidFill>
              </a:rPr>
              <a:t>The Management method is focussed on creating the local culture to effectively manage safety, quality, cost and service.  It is concentrated on the shop/office floor and is focussed on continuous improvement, rather than fire-fighting.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8C1E3A5-8B8D-415E-AC02-2BAD093FD0E9}"/>
              </a:ext>
            </a:extLst>
          </p:cNvPr>
          <p:cNvSpPr/>
          <p:nvPr/>
        </p:nvSpPr>
        <p:spPr>
          <a:xfrm>
            <a:off x="5282382" y="992831"/>
            <a:ext cx="3522912" cy="933376"/>
          </a:xfrm>
          <a:prstGeom prst="roundRect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100" dirty="0">
                <a:solidFill>
                  <a:schemeClr val="bg1">
                    <a:lumMod val="95000"/>
                  </a:schemeClr>
                </a:solidFill>
              </a:rPr>
              <a:t>Equipment that is fit for purpose for the job that is required to carry out.  Set up in a standard way and appropriately maintained to produce good quality product at the right cost, capable of being operated safely and with the required cycle time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B5D7FC8-7525-49AF-95E9-E3815D25D393}"/>
              </a:ext>
            </a:extLst>
          </p:cNvPr>
          <p:cNvSpPr/>
          <p:nvPr/>
        </p:nvSpPr>
        <p:spPr>
          <a:xfrm>
            <a:off x="9219551" y="3067313"/>
            <a:ext cx="2354094" cy="1196502"/>
          </a:xfrm>
          <a:prstGeom prst="ellips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Production 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333257-996F-4626-B66F-7371B4626730}"/>
              </a:ext>
            </a:extLst>
          </p:cNvPr>
          <p:cNvSpPr txBox="1"/>
          <p:nvPr/>
        </p:nvSpPr>
        <p:spPr>
          <a:xfrm rot="2692882">
            <a:off x="3911964" y="2646566"/>
            <a:ext cx="110408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MA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0407573-E919-4821-A02C-8601E994A493}"/>
              </a:ext>
            </a:extLst>
          </p:cNvPr>
          <p:cNvSpPr txBox="1"/>
          <p:nvPr/>
        </p:nvSpPr>
        <p:spPr>
          <a:xfrm rot="2883953">
            <a:off x="7501420" y="2629541"/>
            <a:ext cx="126155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MACHIN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EBECC4-159D-4BA4-8020-15F02F12E65D}"/>
              </a:ext>
            </a:extLst>
          </p:cNvPr>
          <p:cNvSpPr txBox="1"/>
          <p:nvPr/>
        </p:nvSpPr>
        <p:spPr>
          <a:xfrm rot="19123044">
            <a:off x="2939661" y="4199961"/>
            <a:ext cx="186121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MATE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EFA52DF-5BB3-4964-AE34-BFE5A7D07022}"/>
              </a:ext>
            </a:extLst>
          </p:cNvPr>
          <p:cNvSpPr txBox="1"/>
          <p:nvPr/>
        </p:nvSpPr>
        <p:spPr>
          <a:xfrm rot="18690449">
            <a:off x="7668714" y="4261015"/>
            <a:ext cx="1230444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MGMT METHOD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3F20091-1494-4E10-B7FB-F34B70C61F2F}"/>
              </a:ext>
            </a:extLst>
          </p:cNvPr>
          <p:cNvSpPr txBox="1">
            <a:spLocks/>
          </p:cNvSpPr>
          <p:nvPr/>
        </p:nvSpPr>
        <p:spPr>
          <a:xfrm>
            <a:off x="1844040" y="202219"/>
            <a:ext cx="8503920" cy="531278"/>
          </a:xfrm>
        </p:spPr>
        <p:txBody>
          <a:bodyPr>
            <a:normAutofit fontScale="975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00" cap="all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3600" dirty="0"/>
              <a:t>The 4M’s Explained (I)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42E1B28-C039-48AF-BF8A-DFB68214F43E}"/>
              </a:ext>
            </a:extLst>
          </p:cNvPr>
          <p:cNvSpPr/>
          <p:nvPr/>
        </p:nvSpPr>
        <p:spPr>
          <a:xfrm>
            <a:off x="9377225" y="148705"/>
            <a:ext cx="2618004" cy="5414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27" name="Picture 26" descr="A picture containing drawing&#10;&#10;Description automatically generated">
            <a:extLst>
              <a:ext uri="{FF2B5EF4-FFF2-40B4-BE49-F238E27FC236}">
                <a16:creationId xmlns:a16="http://schemas.microsoft.com/office/drawing/2014/main" id="{91C55A37-CC90-4122-8734-657D095026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53" b="94787" l="2560" r="99744">
                        <a14:foregroundMark x1="4863" y1="42654" x2="4863" y2="42654"/>
                        <a14:foregroundMark x1="4949" y1="69194" x2="4949" y2="69194"/>
                        <a14:foregroundMark x1="2560" y1="68246" x2="2560" y2="68246"/>
                        <a14:foregroundMark x1="4949" y1="86256" x2="4949" y2="86256"/>
                        <a14:foregroundMark x1="19881" y1="51659" x2="19881" y2="51659"/>
                        <a14:foregroundMark x1="23294" y1="30332" x2="23294" y2="30332"/>
                        <a14:foregroundMark x1="43430" y1="37441" x2="43430" y2="37441"/>
                        <a14:foregroundMark x1="48038" y1="93839" x2="48038" y2="93839"/>
                        <a14:foregroundMark x1="44113" y1="94787" x2="44113" y2="94787"/>
                        <a14:foregroundMark x1="59471" y1="50237" x2="59471" y2="50237"/>
                        <a14:foregroundMark x1="78242" y1="57346" x2="78242" y2="57346"/>
                        <a14:foregroundMark x1="89846" y1="90995" x2="89846" y2="90995"/>
                        <a14:foregroundMark x1="89676" y1="70142" x2="89676" y2="70142"/>
                        <a14:foregroundMark x1="99744" y1="67773" x2="99744" y2="67773"/>
                        <a14:foregroundMark x1="58703" y1="14218" x2="58703" y2="14218"/>
                        <a14:foregroundMark x1="58788" y1="74882" x2="58788" y2="74882"/>
                        <a14:backgroundMark x1="15444" y1="94313" x2="15444" y2="94313"/>
                        <a14:backgroundMark x1="16382" y1="49763" x2="16382" y2="49763"/>
                        <a14:backgroundMark x1="17406" y1="31754" x2="17406" y2="31754"/>
                        <a14:backgroundMark x1="29693" y1="44076" x2="29693" y2="44076"/>
                        <a14:backgroundMark x1="41724" y1="36967" x2="41724" y2="36967"/>
                        <a14:backgroundMark x1="52986" y1="51185" x2="52986" y2="51185"/>
                        <a14:backgroundMark x1="68259" y1="45972" x2="68259" y2="45972"/>
                        <a14:backgroundMark x1="82850" y1="44076" x2="82850" y2="44076"/>
                        <a14:backgroundMark x1="93515" y1="26066" x2="93515" y2="26066"/>
                        <a14:backgroundMark x1="8618" y1="51185" x2="8618" y2="51185"/>
                        <a14:backgroundMark x1="1195" y1="24171" x2="1195" y2="24171"/>
                        <a14:backgroundMark x1="1792" y1="78199" x2="1792" y2="78199"/>
                        <a14:backgroundMark x1="17065" y1="78199" x2="17065" y2="781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5403" y="191131"/>
            <a:ext cx="2463137" cy="44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167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EDC8AF1-3B24-4DA2-8B9D-4F97FC2BCE1F}"/>
              </a:ext>
            </a:extLst>
          </p:cNvPr>
          <p:cNvCxnSpPr/>
          <p:nvPr/>
        </p:nvCxnSpPr>
        <p:spPr>
          <a:xfrm>
            <a:off x="2583365" y="2910528"/>
            <a:ext cx="4351283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A88E632-1558-4D06-B3CE-28DEAF5156E6}"/>
              </a:ext>
            </a:extLst>
          </p:cNvPr>
          <p:cNvCxnSpPr/>
          <p:nvPr/>
        </p:nvCxnSpPr>
        <p:spPr>
          <a:xfrm flipH="1" flipV="1">
            <a:off x="3387416" y="1775410"/>
            <a:ext cx="788276" cy="1119352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04C8F2B-8CEC-4B47-A6C8-31FDEF3BB8BB}"/>
              </a:ext>
            </a:extLst>
          </p:cNvPr>
          <p:cNvCxnSpPr/>
          <p:nvPr/>
        </p:nvCxnSpPr>
        <p:spPr>
          <a:xfrm flipH="1" flipV="1">
            <a:off x="5368616" y="1754389"/>
            <a:ext cx="788276" cy="1119352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E32161-AEC9-4574-B8F5-588ED69EDBE2}"/>
              </a:ext>
            </a:extLst>
          </p:cNvPr>
          <p:cNvCxnSpPr/>
          <p:nvPr/>
        </p:nvCxnSpPr>
        <p:spPr>
          <a:xfrm flipH="1">
            <a:off x="3376906" y="2884251"/>
            <a:ext cx="788276" cy="1119352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0DA895-3B77-4524-BA86-8ABC8F60F75C}"/>
              </a:ext>
            </a:extLst>
          </p:cNvPr>
          <p:cNvCxnSpPr/>
          <p:nvPr/>
        </p:nvCxnSpPr>
        <p:spPr>
          <a:xfrm flipH="1">
            <a:off x="5389637" y="2878996"/>
            <a:ext cx="788276" cy="1119352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E290758-7B6B-426A-A40C-5EE166454315}"/>
              </a:ext>
            </a:extLst>
          </p:cNvPr>
          <p:cNvSpPr/>
          <p:nvPr/>
        </p:nvSpPr>
        <p:spPr>
          <a:xfrm>
            <a:off x="1784455" y="1451185"/>
            <a:ext cx="2599476" cy="366269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00" dirty="0">
                <a:solidFill>
                  <a:schemeClr val="bg1">
                    <a:lumMod val="95000"/>
                  </a:schemeClr>
                </a:solidFill>
              </a:rPr>
              <a:t>MA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1396326-191D-4E74-BEEC-26B4D3496E4C}"/>
              </a:ext>
            </a:extLst>
          </p:cNvPr>
          <p:cNvSpPr/>
          <p:nvPr/>
        </p:nvSpPr>
        <p:spPr>
          <a:xfrm>
            <a:off x="4488173" y="1451184"/>
            <a:ext cx="2538920" cy="36627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00" dirty="0">
                <a:solidFill>
                  <a:schemeClr val="bg1">
                    <a:lumMod val="95000"/>
                  </a:schemeClr>
                </a:solidFill>
              </a:rPr>
              <a:t>MACHIN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E3F04D6-38C8-476E-BDBF-4D186D7A0336}"/>
              </a:ext>
            </a:extLst>
          </p:cNvPr>
          <p:cNvSpPr/>
          <p:nvPr/>
        </p:nvSpPr>
        <p:spPr>
          <a:xfrm>
            <a:off x="6899566" y="2286000"/>
            <a:ext cx="2354094" cy="119650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Production Proces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5AC16A9-5EDE-4975-A38E-BA18A765BEDD}"/>
              </a:ext>
            </a:extLst>
          </p:cNvPr>
          <p:cNvSpPr/>
          <p:nvPr/>
        </p:nvSpPr>
        <p:spPr>
          <a:xfrm>
            <a:off x="1784455" y="3987288"/>
            <a:ext cx="2599476" cy="366269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00" dirty="0">
                <a:solidFill>
                  <a:schemeClr val="bg1">
                    <a:lumMod val="95000"/>
                  </a:schemeClr>
                </a:solidFill>
              </a:rPr>
              <a:t>MATERIAL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E0B6304-5674-4FD6-9B11-D0202EC54BBD}"/>
              </a:ext>
            </a:extLst>
          </p:cNvPr>
          <p:cNvSpPr/>
          <p:nvPr/>
        </p:nvSpPr>
        <p:spPr>
          <a:xfrm>
            <a:off x="4488173" y="3987286"/>
            <a:ext cx="2538920" cy="36627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00" dirty="0">
                <a:solidFill>
                  <a:schemeClr val="bg1">
                    <a:lumMod val="95000"/>
                  </a:schemeClr>
                </a:solidFill>
              </a:rPr>
              <a:t>MANAGEMENT METHOD</a:t>
            </a:r>
          </a:p>
        </p:txBody>
      </p:sp>
      <p:sp>
        <p:nvSpPr>
          <p:cNvPr id="19" name="Freeform 42">
            <a:extLst>
              <a:ext uri="{FF2B5EF4-FFF2-40B4-BE49-F238E27FC236}">
                <a16:creationId xmlns:a16="http://schemas.microsoft.com/office/drawing/2014/main" id="{F3E32709-416B-4FBD-8F29-81B5B01AE346}"/>
              </a:ext>
            </a:extLst>
          </p:cNvPr>
          <p:cNvSpPr/>
          <p:nvPr/>
        </p:nvSpPr>
        <p:spPr>
          <a:xfrm>
            <a:off x="2173471" y="2088434"/>
            <a:ext cx="1024712" cy="451263"/>
          </a:xfrm>
          <a:custGeom>
            <a:avLst/>
            <a:gdLst>
              <a:gd name="connsiteX0" fmla="*/ 0 w 1888176"/>
              <a:gd name="connsiteY0" fmla="*/ 213756 h 641268"/>
              <a:gd name="connsiteX1" fmla="*/ 213755 w 1888176"/>
              <a:gd name="connsiteY1" fmla="*/ 54626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486888 w 1888176"/>
              <a:gd name="connsiteY4" fmla="*/ 296884 h 641268"/>
              <a:gd name="connsiteX5" fmla="*/ 629392 w 1888176"/>
              <a:gd name="connsiteY5" fmla="*/ 11876 h 641268"/>
              <a:gd name="connsiteX6" fmla="*/ 748145 w 1888176"/>
              <a:gd name="connsiteY6" fmla="*/ 546265 h 641268"/>
              <a:gd name="connsiteX7" fmla="*/ 902524 w 1888176"/>
              <a:gd name="connsiteY7" fmla="*/ 190006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88176" h="641268">
                <a:moveTo>
                  <a:pt x="0" y="213756"/>
                </a:moveTo>
                <a:lnTo>
                  <a:pt x="213755" y="546265"/>
                </a:lnTo>
                <a:lnTo>
                  <a:pt x="285007" y="439387"/>
                </a:lnTo>
                <a:lnTo>
                  <a:pt x="403761" y="130629"/>
                </a:lnTo>
                <a:lnTo>
                  <a:pt x="486888" y="296884"/>
                </a:lnTo>
                <a:lnTo>
                  <a:pt x="629392" y="11876"/>
                </a:lnTo>
                <a:lnTo>
                  <a:pt x="748145" y="546265"/>
                </a:lnTo>
                <a:lnTo>
                  <a:pt x="902524" y="190006"/>
                </a:lnTo>
                <a:lnTo>
                  <a:pt x="1033153" y="546265"/>
                </a:lnTo>
                <a:lnTo>
                  <a:pt x="1128155" y="166255"/>
                </a:lnTo>
                <a:lnTo>
                  <a:pt x="1258784" y="522515"/>
                </a:lnTo>
                <a:lnTo>
                  <a:pt x="1413163" y="641268"/>
                </a:lnTo>
                <a:lnTo>
                  <a:pt x="1484415" y="463138"/>
                </a:lnTo>
                <a:lnTo>
                  <a:pt x="1579418" y="249382"/>
                </a:lnTo>
                <a:lnTo>
                  <a:pt x="1650670" y="451263"/>
                </a:lnTo>
                <a:lnTo>
                  <a:pt x="1769423" y="0"/>
                </a:lnTo>
                <a:lnTo>
                  <a:pt x="1828800" y="308759"/>
                </a:lnTo>
                <a:lnTo>
                  <a:pt x="1888176" y="475013"/>
                </a:lnTo>
                <a:lnTo>
                  <a:pt x="1888176" y="475013"/>
                </a:lnTo>
                <a:lnTo>
                  <a:pt x="1888176" y="475013"/>
                </a:lnTo>
              </a:path>
            </a:pathLst>
          </a:cu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4" name="Freeform 46">
            <a:extLst>
              <a:ext uri="{FF2B5EF4-FFF2-40B4-BE49-F238E27FC236}">
                <a16:creationId xmlns:a16="http://schemas.microsoft.com/office/drawing/2014/main" id="{BD1813BF-7D74-4222-927D-4EBB0FABBD02}"/>
              </a:ext>
            </a:extLst>
          </p:cNvPr>
          <p:cNvSpPr/>
          <p:nvPr/>
        </p:nvSpPr>
        <p:spPr>
          <a:xfrm>
            <a:off x="2173471" y="3227454"/>
            <a:ext cx="1024712" cy="442906"/>
          </a:xfrm>
          <a:custGeom>
            <a:avLst/>
            <a:gdLst>
              <a:gd name="connsiteX0" fmla="*/ 0 w 1888176"/>
              <a:gd name="connsiteY0" fmla="*/ 213756 h 641268"/>
              <a:gd name="connsiteX1" fmla="*/ 213755 w 1888176"/>
              <a:gd name="connsiteY1" fmla="*/ 54626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486888 w 1888176"/>
              <a:gd name="connsiteY4" fmla="*/ 296884 h 641268"/>
              <a:gd name="connsiteX5" fmla="*/ 629392 w 1888176"/>
              <a:gd name="connsiteY5" fmla="*/ 11876 h 641268"/>
              <a:gd name="connsiteX6" fmla="*/ 748145 w 1888176"/>
              <a:gd name="connsiteY6" fmla="*/ 546265 h 641268"/>
              <a:gd name="connsiteX7" fmla="*/ 902524 w 1888176"/>
              <a:gd name="connsiteY7" fmla="*/ 190006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13755 w 1888176"/>
              <a:gd name="connsiteY2" fmla="*/ 546265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902524 w 1888176"/>
              <a:gd name="connsiteY8" fmla="*/ 19000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258784 w 1888176"/>
              <a:gd name="connsiteY11" fmla="*/ 522515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249382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55104 w 1888176"/>
              <a:gd name="connsiteY2" fmla="*/ 267251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902524 w 1888176"/>
              <a:gd name="connsiteY8" fmla="*/ 19000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258784 w 1888176"/>
              <a:gd name="connsiteY11" fmla="*/ 522515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249382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55104 w 1888176"/>
              <a:gd name="connsiteY2" fmla="*/ 267251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871512 w 1888176"/>
              <a:gd name="connsiteY8" fmla="*/ 49293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258784 w 1888176"/>
              <a:gd name="connsiteY11" fmla="*/ 522515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249382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55104 w 1888176"/>
              <a:gd name="connsiteY2" fmla="*/ 267251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871512 w 1888176"/>
              <a:gd name="connsiteY8" fmla="*/ 49293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320805 w 1888176"/>
              <a:gd name="connsiteY11" fmla="*/ 100007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249382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55104 w 1888176"/>
              <a:gd name="connsiteY2" fmla="*/ 267251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871512 w 1888176"/>
              <a:gd name="connsiteY8" fmla="*/ 49293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320805 w 1888176"/>
              <a:gd name="connsiteY11" fmla="*/ 100007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249382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55104 w 1888176"/>
              <a:gd name="connsiteY2" fmla="*/ 267251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871512 w 1888176"/>
              <a:gd name="connsiteY8" fmla="*/ 49293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320805 w 1888176"/>
              <a:gd name="connsiteY11" fmla="*/ 100007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568254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01880 h 629392"/>
              <a:gd name="connsiteX1" fmla="*/ 21524 w 1888176"/>
              <a:gd name="connsiteY1" fmla="*/ 378588 h 629392"/>
              <a:gd name="connsiteX2" fmla="*/ 255104 w 1888176"/>
              <a:gd name="connsiteY2" fmla="*/ 255375 h 629392"/>
              <a:gd name="connsiteX3" fmla="*/ 285007 w 1888176"/>
              <a:gd name="connsiteY3" fmla="*/ 427511 h 629392"/>
              <a:gd name="connsiteX4" fmla="*/ 403761 w 1888176"/>
              <a:gd name="connsiteY4" fmla="*/ 118753 h 629392"/>
              <a:gd name="connsiteX5" fmla="*/ 486888 w 1888176"/>
              <a:gd name="connsiteY5" fmla="*/ 285008 h 629392"/>
              <a:gd name="connsiteX6" fmla="*/ 629392 w 1888176"/>
              <a:gd name="connsiteY6" fmla="*/ 0 h 629392"/>
              <a:gd name="connsiteX7" fmla="*/ 748145 w 1888176"/>
              <a:gd name="connsiteY7" fmla="*/ 534389 h 629392"/>
              <a:gd name="connsiteX8" fmla="*/ 871512 w 1888176"/>
              <a:gd name="connsiteY8" fmla="*/ 481060 h 629392"/>
              <a:gd name="connsiteX9" fmla="*/ 1033153 w 1888176"/>
              <a:gd name="connsiteY9" fmla="*/ 534389 h 629392"/>
              <a:gd name="connsiteX10" fmla="*/ 1128155 w 1888176"/>
              <a:gd name="connsiteY10" fmla="*/ 154379 h 629392"/>
              <a:gd name="connsiteX11" fmla="*/ 1320805 w 1888176"/>
              <a:gd name="connsiteY11" fmla="*/ 88131 h 629392"/>
              <a:gd name="connsiteX12" fmla="*/ 1413163 w 1888176"/>
              <a:gd name="connsiteY12" fmla="*/ 629392 h 629392"/>
              <a:gd name="connsiteX13" fmla="*/ 1484415 w 1888176"/>
              <a:gd name="connsiteY13" fmla="*/ 451262 h 629392"/>
              <a:gd name="connsiteX14" fmla="*/ 1579418 w 1888176"/>
              <a:gd name="connsiteY14" fmla="*/ 556378 h 629392"/>
              <a:gd name="connsiteX15" fmla="*/ 1650670 w 1888176"/>
              <a:gd name="connsiteY15" fmla="*/ 439387 h 629392"/>
              <a:gd name="connsiteX16" fmla="*/ 1738414 w 1888176"/>
              <a:gd name="connsiteY16" fmla="*/ 171477 h 629392"/>
              <a:gd name="connsiteX17" fmla="*/ 1828800 w 1888176"/>
              <a:gd name="connsiteY17" fmla="*/ 296883 h 629392"/>
              <a:gd name="connsiteX18" fmla="*/ 1888176 w 1888176"/>
              <a:gd name="connsiteY18" fmla="*/ 463137 h 629392"/>
              <a:gd name="connsiteX19" fmla="*/ 1888176 w 1888176"/>
              <a:gd name="connsiteY19" fmla="*/ 463137 h 629392"/>
              <a:gd name="connsiteX20" fmla="*/ 1888176 w 1888176"/>
              <a:gd name="connsiteY20" fmla="*/ 463137 h 629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888176" h="629392">
                <a:moveTo>
                  <a:pt x="0" y="201880"/>
                </a:moveTo>
                <a:lnTo>
                  <a:pt x="21524" y="378588"/>
                </a:lnTo>
                <a:lnTo>
                  <a:pt x="255104" y="255375"/>
                </a:lnTo>
                <a:lnTo>
                  <a:pt x="285007" y="427511"/>
                </a:lnTo>
                <a:lnTo>
                  <a:pt x="403761" y="118753"/>
                </a:lnTo>
                <a:lnTo>
                  <a:pt x="486888" y="285008"/>
                </a:lnTo>
                <a:lnTo>
                  <a:pt x="629392" y="0"/>
                </a:lnTo>
                <a:lnTo>
                  <a:pt x="748145" y="534389"/>
                </a:lnTo>
                <a:lnTo>
                  <a:pt x="871512" y="481060"/>
                </a:lnTo>
                <a:lnTo>
                  <a:pt x="1033153" y="534389"/>
                </a:lnTo>
                <a:lnTo>
                  <a:pt x="1128155" y="154379"/>
                </a:lnTo>
                <a:lnTo>
                  <a:pt x="1320805" y="88131"/>
                </a:lnTo>
                <a:cubicBezTo>
                  <a:pt x="1382601" y="404073"/>
                  <a:pt x="1382377" y="448972"/>
                  <a:pt x="1413163" y="629392"/>
                </a:cubicBezTo>
                <a:lnTo>
                  <a:pt x="1484415" y="451262"/>
                </a:lnTo>
                <a:lnTo>
                  <a:pt x="1579418" y="556378"/>
                </a:lnTo>
                <a:lnTo>
                  <a:pt x="1650670" y="439387"/>
                </a:lnTo>
                <a:lnTo>
                  <a:pt x="1738414" y="171477"/>
                </a:lnTo>
                <a:lnTo>
                  <a:pt x="1828800" y="296883"/>
                </a:lnTo>
                <a:lnTo>
                  <a:pt x="1888176" y="463137"/>
                </a:lnTo>
                <a:lnTo>
                  <a:pt x="1888176" y="463137"/>
                </a:lnTo>
                <a:lnTo>
                  <a:pt x="1888176" y="463137"/>
                </a:lnTo>
              </a:path>
            </a:pathLst>
          </a:cu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5" name="Freeform 39">
            <a:extLst>
              <a:ext uri="{FF2B5EF4-FFF2-40B4-BE49-F238E27FC236}">
                <a16:creationId xmlns:a16="http://schemas.microsoft.com/office/drawing/2014/main" id="{3E4D5624-FB18-4661-A79D-683151C109AE}"/>
              </a:ext>
            </a:extLst>
          </p:cNvPr>
          <p:cNvSpPr/>
          <p:nvPr/>
        </p:nvSpPr>
        <p:spPr>
          <a:xfrm>
            <a:off x="4322883" y="2041584"/>
            <a:ext cx="1024712" cy="498113"/>
          </a:xfrm>
          <a:custGeom>
            <a:avLst/>
            <a:gdLst>
              <a:gd name="connsiteX0" fmla="*/ 0 w 1888176"/>
              <a:gd name="connsiteY0" fmla="*/ 213756 h 641268"/>
              <a:gd name="connsiteX1" fmla="*/ 213755 w 1888176"/>
              <a:gd name="connsiteY1" fmla="*/ 54626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486888 w 1888176"/>
              <a:gd name="connsiteY4" fmla="*/ 296884 h 641268"/>
              <a:gd name="connsiteX5" fmla="*/ 629392 w 1888176"/>
              <a:gd name="connsiteY5" fmla="*/ 11876 h 641268"/>
              <a:gd name="connsiteX6" fmla="*/ 748145 w 1888176"/>
              <a:gd name="connsiteY6" fmla="*/ 546265 h 641268"/>
              <a:gd name="connsiteX7" fmla="*/ 902524 w 1888176"/>
              <a:gd name="connsiteY7" fmla="*/ 190006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213755 w 1888176"/>
              <a:gd name="connsiteY1" fmla="*/ 54626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486888 w 1888176"/>
              <a:gd name="connsiteY4" fmla="*/ 296884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190006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213755 w 1888176"/>
              <a:gd name="connsiteY1" fmla="*/ 54626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507561 w 1888176"/>
              <a:gd name="connsiteY4" fmla="*/ 225139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190006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193083 w 1888176"/>
              <a:gd name="connsiteY1" fmla="*/ 33102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507561 w 1888176"/>
              <a:gd name="connsiteY4" fmla="*/ 225139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190006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193083 w 1888176"/>
              <a:gd name="connsiteY1" fmla="*/ 33102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507561 w 1888176"/>
              <a:gd name="connsiteY4" fmla="*/ 225139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293640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193083 w 1888176"/>
              <a:gd name="connsiteY1" fmla="*/ 33102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507561 w 1888176"/>
              <a:gd name="connsiteY4" fmla="*/ 225139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293640 h 641268"/>
              <a:gd name="connsiteX8" fmla="*/ 991807 w 1888176"/>
              <a:gd name="connsiteY8" fmla="*/ 187532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193083 w 1888176"/>
              <a:gd name="connsiteY1" fmla="*/ 33102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507561 w 1888176"/>
              <a:gd name="connsiteY4" fmla="*/ 225139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293640 h 641268"/>
              <a:gd name="connsiteX8" fmla="*/ 991807 w 1888176"/>
              <a:gd name="connsiteY8" fmla="*/ 187532 h 641268"/>
              <a:gd name="connsiteX9" fmla="*/ 1128155 w 1888176"/>
              <a:gd name="connsiteY9" fmla="*/ 166255 h 641268"/>
              <a:gd name="connsiteX10" fmla="*/ 1258783 w 1888176"/>
              <a:gd name="connsiteY10" fmla="*/ 355107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513719"/>
              <a:gd name="connsiteX1" fmla="*/ 193083 w 1888176"/>
              <a:gd name="connsiteY1" fmla="*/ 331025 h 513719"/>
              <a:gd name="connsiteX2" fmla="*/ 285007 w 1888176"/>
              <a:gd name="connsiteY2" fmla="*/ 439387 h 513719"/>
              <a:gd name="connsiteX3" fmla="*/ 403761 w 1888176"/>
              <a:gd name="connsiteY3" fmla="*/ 130629 h 513719"/>
              <a:gd name="connsiteX4" fmla="*/ 507561 w 1888176"/>
              <a:gd name="connsiteY4" fmla="*/ 225139 h 513719"/>
              <a:gd name="connsiteX5" fmla="*/ 629392 w 1888176"/>
              <a:gd name="connsiteY5" fmla="*/ 11876 h 513719"/>
              <a:gd name="connsiteX6" fmla="*/ 779155 w 1888176"/>
              <a:gd name="connsiteY6" fmla="*/ 466547 h 513719"/>
              <a:gd name="connsiteX7" fmla="*/ 902524 w 1888176"/>
              <a:gd name="connsiteY7" fmla="*/ 293640 h 513719"/>
              <a:gd name="connsiteX8" fmla="*/ 991807 w 1888176"/>
              <a:gd name="connsiteY8" fmla="*/ 187532 h 513719"/>
              <a:gd name="connsiteX9" fmla="*/ 1128155 w 1888176"/>
              <a:gd name="connsiteY9" fmla="*/ 166255 h 513719"/>
              <a:gd name="connsiteX10" fmla="*/ 1258783 w 1888176"/>
              <a:gd name="connsiteY10" fmla="*/ 355107 h 513719"/>
              <a:gd name="connsiteX11" fmla="*/ 1392489 w 1888176"/>
              <a:gd name="connsiteY11" fmla="*/ 513719 h 513719"/>
              <a:gd name="connsiteX12" fmla="*/ 1484415 w 1888176"/>
              <a:gd name="connsiteY12" fmla="*/ 463138 h 513719"/>
              <a:gd name="connsiteX13" fmla="*/ 1579418 w 1888176"/>
              <a:gd name="connsiteY13" fmla="*/ 249382 h 513719"/>
              <a:gd name="connsiteX14" fmla="*/ 1650670 w 1888176"/>
              <a:gd name="connsiteY14" fmla="*/ 451263 h 513719"/>
              <a:gd name="connsiteX15" fmla="*/ 1769423 w 1888176"/>
              <a:gd name="connsiteY15" fmla="*/ 0 h 513719"/>
              <a:gd name="connsiteX16" fmla="*/ 1828800 w 1888176"/>
              <a:gd name="connsiteY16" fmla="*/ 308759 h 513719"/>
              <a:gd name="connsiteX17" fmla="*/ 1888176 w 1888176"/>
              <a:gd name="connsiteY17" fmla="*/ 475013 h 513719"/>
              <a:gd name="connsiteX18" fmla="*/ 1888176 w 1888176"/>
              <a:gd name="connsiteY18" fmla="*/ 475013 h 513719"/>
              <a:gd name="connsiteX19" fmla="*/ 1888176 w 1888176"/>
              <a:gd name="connsiteY19" fmla="*/ 475013 h 513719"/>
              <a:gd name="connsiteX0" fmla="*/ 0 w 1888176"/>
              <a:gd name="connsiteY0" fmla="*/ 213756 h 719720"/>
              <a:gd name="connsiteX1" fmla="*/ 193083 w 1888176"/>
              <a:gd name="connsiteY1" fmla="*/ 331025 h 719720"/>
              <a:gd name="connsiteX2" fmla="*/ 285007 w 1888176"/>
              <a:gd name="connsiteY2" fmla="*/ 439387 h 719720"/>
              <a:gd name="connsiteX3" fmla="*/ 403761 w 1888176"/>
              <a:gd name="connsiteY3" fmla="*/ 130629 h 719720"/>
              <a:gd name="connsiteX4" fmla="*/ 507561 w 1888176"/>
              <a:gd name="connsiteY4" fmla="*/ 225139 h 719720"/>
              <a:gd name="connsiteX5" fmla="*/ 629392 w 1888176"/>
              <a:gd name="connsiteY5" fmla="*/ 11876 h 719720"/>
              <a:gd name="connsiteX6" fmla="*/ 779155 w 1888176"/>
              <a:gd name="connsiteY6" fmla="*/ 466547 h 719720"/>
              <a:gd name="connsiteX7" fmla="*/ 902524 w 1888176"/>
              <a:gd name="connsiteY7" fmla="*/ 293640 h 719720"/>
              <a:gd name="connsiteX8" fmla="*/ 991807 w 1888176"/>
              <a:gd name="connsiteY8" fmla="*/ 187532 h 719720"/>
              <a:gd name="connsiteX9" fmla="*/ 1128155 w 1888176"/>
              <a:gd name="connsiteY9" fmla="*/ 166255 h 719720"/>
              <a:gd name="connsiteX10" fmla="*/ 1258783 w 1888176"/>
              <a:gd name="connsiteY10" fmla="*/ 355107 h 719720"/>
              <a:gd name="connsiteX11" fmla="*/ 1392489 w 1888176"/>
              <a:gd name="connsiteY11" fmla="*/ 513719 h 719720"/>
              <a:gd name="connsiteX12" fmla="*/ 1484415 w 1888176"/>
              <a:gd name="connsiteY12" fmla="*/ 463138 h 719720"/>
              <a:gd name="connsiteX13" fmla="*/ 1579418 w 1888176"/>
              <a:gd name="connsiteY13" fmla="*/ 719720 h 719720"/>
              <a:gd name="connsiteX14" fmla="*/ 1650670 w 1888176"/>
              <a:gd name="connsiteY14" fmla="*/ 451263 h 719720"/>
              <a:gd name="connsiteX15" fmla="*/ 1769423 w 1888176"/>
              <a:gd name="connsiteY15" fmla="*/ 0 h 719720"/>
              <a:gd name="connsiteX16" fmla="*/ 1828800 w 1888176"/>
              <a:gd name="connsiteY16" fmla="*/ 308759 h 719720"/>
              <a:gd name="connsiteX17" fmla="*/ 1888176 w 1888176"/>
              <a:gd name="connsiteY17" fmla="*/ 475013 h 719720"/>
              <a:gd name="connsiteX18" fmla="*/ 1888176 w 1888176"/>
              <a:gd name="connsiteY18" fmla="*/ 475013 h 719720"/>
              <a:gd name="connsiteX19" fmla="*/ 1888176 w 1888176"/>
              <a:gd name="connsiteY19" fmla="*/ 475013 h 719720"/>
              <a:gd name="connsiteX0" fmla="*/ 0 w 1888176"/>
              <a:gd name="connsiteY0" fmla="*/ 201880 h 707844"/>
              <a:gd name="connsiteX1" fmla="*/ 193083 w 1888176"/>
              <a:gd name="connsiteY1" fmla="*/ 319149 h 707844"/>
              <a:gd name="connsiteX2" fmla="*/ 285007 w 1888176"/>
              <a:gd name="connsiteY2" fmla="*/ 427511 h 707844"/>
              <a:gd name="connsiteX3" fmla="*/ 403761 w 1888176"/>
              <a:gd name="connsiteY3" fmla="*/ 118753 h 707844"/>
              <a:gd name="connsiteX4" fmla="*/ 507561 w 1888176"/>
              <a:gd name="connsiteY4" fmla="*/ 213263 h 707844"/>
              <a:gd name="connsiteX5" fmla="*/ 629392 w 1888176"/>
              <a:gd name="connsiteY5" fmla="*/ 0 h 707844"/>
              <a:gd name="connsiteX6" fmla="*/ 779155 w 1888176"/>
              <a:gd name="connsiteY6" fmla="*/ 454671 h 707844"/>
              <a:gd name="connsiteX7" fmla="*/ 902524 w 1888176"/>
              <a:gd name="connsiteY7" fmla="*/ 281764 h 707844"/>
              <a:gd name="connsiteX8" fmla="*/ 991807 w 1888176"/>
              <a:gd name="connsiteY8" fmla="*/ 175656 h 707844"/>
              <a:gd name="connsiteX9" fmla="*/ 1128155 w 1888176"/>
              <a:gd name="connsiteY9" fmla="*/ 154379 h 707844"/>
              <a:gd name="connsiteX10" fmla="*/ 1258783 w 1888176"/>
              <a:gd name="connsiteY10" fmla="*/ 343231 h 707844"/>
              <a:gd name="connsiteX11" fmla="*/ 1392489 w 1888176"/>
              <a:gd name="connsiteY11" fmla="*/ 501843 h 707844"/>
              <a:gd name="connsiteX12" fmla="*/ 1484415 w 1888176"/>
              <a:gd name="connsiteY12" fmla="*/ 451262 h 707844"/>
              <a:gd name="connsiteX13" fmla="*/ 1579418 w 1888176"/>
              <a:gd name="connsiteY13" fmla="*/ 707844 h 707844"/>
              <a:gd name="connsiteX14" fmla="*/ 1650670 w 1888176"/>
              <a:gd name="connsiteY14" fmla="*/ 439387 h 707844"/>
              <a:gd name="connsiteX15" fmla="*/ 1759086 w 1888176"/>
              <a:gd name="connsiteY15" fmla="*/ 155532 h 707844"/>
              <a:gd name="connsiteX16" fmla="*/ 1828800 w 1888176"/>
              <a:gd name="connsiteY16" fmla="*/ 296883 h 707844"/>
              <a:gd name="connsiteX17" fmla="*/ 1888176 w 1888176"/>
              <a:gd name="connsiteY17" fmla="*/ 463137 h 707844"/>
              <a:gd name="connsiteX18" fmla="*/ 1888176 w 1888176"/>
              <a:gd name="connsiteY18" fmla="*/ 463137 h 707844"/>
              <a:gd name="connsiteX19" fmla="*/ 1888176 w 1888176"/>
              <a:gd name="connsiteY19" fmla="*/ 463137 h 707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88176" h="707844">
                <a:moveTo>
                  <a:pt x="0" y="201880"/>
                </a:moveTo>
                <a:lnTo>
                  <a:pt x="193083" y="319149"/>
                </a:lnTo>
                <a:lnTo>
                  <a:pt x="285007" y="427511"/>
                </a:lnTo>
                <a:lnTo>
                  <a:pt x="403761" y="118753"/>
                </a:lnTo>
                <a:lnTo>
                  <a:pt x="507561" y="213263"/>
                </a:lnTo>
                <a:lnTo>
                  <a:pt x="629392" y="0"/>
                </a:lnTo>
                <a:lnTo>
                  <a:pt x="779155" y="454671"/>
                </a:lnTo>
                <a:lnTo>
                  <a:pt x="902524" y="281764"/>
                </a:lnTo>
                <a:lnTo>
                  <a:pt x="991807" y="175656"/>
                </a:lnTo>
                <a:lnTo>
                  <a:pt x="1128155" y="154379"/>
                </a:lnTo>
                <a:lnTo>
                  <a:pt x="1258783" y="343231"/>
                </a:lnTo>
                <a:lnTo>
                  <a:pt x="1392489" y="501843"/>
                </a:lnTo>
                <a:lnTo>
                  <a:pt x="1484415" y="451262"/>
                </a:lnTo>
                <a:lnTo>
                  <a:pt x="1579418" y="707844"/>
                </a:lnTo>
                <a:lnTo>
                  <a:pt x="1650670" y="439387"/>
                </a:lnTo>
                <a:lnTo>
                  <a:pt x="1759086" y="155532"/>
                </a:lnTo>
                <a:lnTo>
                  <a:pt x="1828800" y="296883"/>
                </a:lnTo>
                <a:lnTo>
                  <a:pt x="1888176" y="463137"/>
                </a:lnTo>
                <a:lnTo>
                  <a:pt x="1888176" y="463137"/>
                </a:lnTo>
                <a:lnTo>
                  <a:pt x="1888176" y="463137"/>
                </a:lnTo>
              </a:path>
            </a:pathLst>
          </a:cu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6" name="Freeform 50">
            <a:extLst>
              <a:ext uri="{FF2B5EF4-FFF2-40B4-BE49-F238E27FC236}">
                <a16:creationId xmlns:a16="http://schemas.microsoft.com/office/drawing/2014/main" id="{78B314B2-925F-4016-ADA1-0C9447BA6712}"/>
              </a:ext>
            </a:extLst>
          </p:cNvPr>
          <p:cNvSpPr/>
          <p:nvPr/>
        </p:nvSpPr>
        <p:spPr>
          <a:xfrm>
            <a:off x="4383931" y="3213992"/>
            <a:ext cx="1075200" cy="469833"/>
          </a:xfrm>
          <a:custGeom>
            <a:avLst/>
            <a:gdLst>
              <a:gd name="connsiteX0" fmla="*/ 0 w 1888176"/>
              <a:gd name="connsiteY0" fmla="*/ 213756 h 641268"/>
              <a:gd name="connsiteX1" fmla="*/ 213755 w 1888176"/>
              <a:gd name="connsiteY1" fmla="*/ 54626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486888 w 1888176"/>
              <a:gd name="connsiteY4" fmla="*/ 296884 h 641268"/>
              <a:gd name="connsiteX5" fmla="*/ 629392 w 1888176"/>
              <a:gd name="connsiteY5" fmla="*/ 11876 h 641268"/>
              <a:gd name="connsiteX6" fmla="*/ 748145 w 1888176"/>
              <a:gd name="connsiteY6" fmla="*/ 546265 h 641268"/>
              <a:gd name="connsiteX7" fmla="*/ 902524 w 1888176"/>
              <a:gd name="connsiteY7" fmla="*/ 190006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13755 w 1888176"/>
              <a:gd name="connsiteY2" fmla="*/ 546265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902524 w 1888176"/>
              <a:gd name="connsiteY8" fmla="*/ 19000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258784 w 1888176"/>
              <a:gd name="connsiteY11" fmla="*/ 522515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249382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55104 w 1888176"/>
              <a:gd name="connsiteY2" fmla="*/ 267251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902524 w 1888176"/>
              <a:gd name="connsiteY8" fmla="*/ 19000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258784 w 1888176"/>
              <a:gd name="connsiteY11" fmla="*/ 522515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249382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55104 w 1888176"/>
              <a:gd name="connsiteY2" fmla="*/ 267251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871512 w 1888176"/>
              <a:gd name="connsiteY8" fmla="*/ 49293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258784 w 1888176"/>
              <a:gd name="connsiteY11" fmla="*/ 522515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249382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55104 w 1888176"/>
              <a:gd name="connsiteY2" fmla="*/ 267251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871512 w 1888176"/>
              <a:gd name="connsiteY8" fmla="*/ 49293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320805 w 1888176"/>
              <a:gd name="connsiteY11" fmla="*/ 100007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249382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55104 w 1888176"/>
              <a:gd name="connsiteY2" fmla="*/ 267251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871512 w 1888176"/>
              <a:gd name="connsiteY8" fmla="*/ 49293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320805 w 1888176"/>
              <a:gd name="connsiteY11" fmla="*/ 100007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249382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13756 h 641268"/>
              <a:gd name="connsiteX1" fmla="*/ 21524 w 1888176"/>
              <a:gd name="connsiteY1" fmla="*/ 390464 h 641268"/>
              <a:gd name="connsiteX2" fmla="*/ 255104 w 1888176"/>
              <a:gd name="connsiteY2" fmla="*/ 267251 h 641268"/>
              <a:gd name="connsiteX3" fmla="*/ 285007 w 1888176"/>
              <a:gd name="connsiteY3" fmla="*/ 439387 h 641268"/>
              <a:gd name="connsiteX4" fmla="*/ 403761 w 1888176"/>
              <a:gd name="connsiteY4" fmla="*/ 130629 h 641268"/>
              <a:gd name="connsiteX5" fmla="*/ 486888 w 1888176"/>
              <a:gd name="connsiteY5" fmla="*/ 296884 h 641268"/>
              <a:gd name="connsiteX6" fmla="*/ 629392 w 1888176"/>
              <a:gd name="connsiteY6" fmla="*/ 11876 h 641268"/>
              <a:gd name="connsiteX7" fmla="*/ 748145 w 1888176"/>
              <a:gd name="connsiteY7" fmla="*/ 546265 h 641268"/>
              <a:gd name="connsiteX8" fmla="*/ 871512 w 1888176"/>
              <a:gd name="connsiteY8" fmla="*/ 492936 h 641268"/>
              <a:gd name="connsiteX9" fmla="*/ 1033153 w 1888176"/>
              <a:gd name="connsiteY9" fmla="*/ 546265 h 641268"/>
              <a:gd name="connsiteX10" fmla="*/ 1128155 w 1888176"/>
              <a:gd name="connsiteY10" fmla="*/ 166255 h 641268"/>
              <a:gd name="connsiteX11" fmla="*/ 1320805 w 1888176"/>
              <a:gd name="connsiteY11" fmla="*/ 100007 h 641268"/>
              <a:gd name="connsiteX12" fmla="*/ 1413163 w 1888176"/>
              <a:gd name="connsiteY12" fmla="*/ 641268 h 641268"/>
              <a:gd name="connsiteX13" fmla="*/ 1484415 w 1888176"/>
              <a:gd name="connsiteY13" fmla="*/ 463138 h 641268"/>
              <a:gd name="connsiteX14" fmla="*/ 1579418 w 1888176"/>
              <a:gd name="connsiteY14" fmla="*/ 568254 h 641268"/>
              <a:gd name="connsiteX15" fmla="*/ 1650670 w 1888176"/>
              <a:gd name="connsiteY15" fmla="*/ 451263 h 641268"/>
              <a:gd name="connsiteX16" fmla="*/ 1769423 w 1888176"/>
              <a:gd name="connsiteY16" fmla="*/ 0 h 641268"/>
              <a:gd name="connsiteX17" fmla="*/ 1828800 w 1888176"/>
              <a:gd name="connsiteY17" fmla="*/ 308759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20" fmla="*/ 1888176 w 1888176"/>
              <a:gd name="connsiteY20" fmla="*/ 475013 h 641268"/>
              <a:gd name="connsiteX0" fmla="*/ 0 w 1888176"/>
              <a:gd name="connsiteY0" fmla="*/ 201880 h 629392"/>
              <a:gd name="connsiteX1" fmla="*/ 21524 w 1888176"/>
              <a:gd name="connsiteY1" fmla="*/ 378588 h 629392"/>
              <a:gd name="connsiteX2" fmla="*/ 255104 w 1888176"/>
              <a:gd name="connsiteY2" fmla="*/ 255375 h 629392"/>
              <a:gd name="connsiteX3" fmla="*/ 285007 w 1888176"/>
              <a:gd name="connsiteY3" fmla="*/ 427511 h 629392"/>
              <a:gd name="connsiteX4" fmla="*/ 403761 w 1888176"/>
              <a:gd name="connsiteY4" fmla="*/ 118753 h 629392"/>
              <a:gd name="connsiteX5" fmla="*/ 486888 w 1888176"/>
              <a:gd name="connsiteY5" fmla="*/ 285008 h 629392"/>
              <a:gd name="connsiteX6" fmla="*/ 629392 w 1888176"/>
              <a:gd name="connsiteY6" fmla="*/ 0 h 629392"/>
              <a:gd name="connsiteX7" fmla="*/ 748145 w 1888176"/>
              <a:gd name="connsiteY7" fmla="*/ 534389 h 629392"/>
              <a:gd name="connsiteX8" fmla="*/ 871512 w 1888176"/>
              <a:gd name="connsiteY8" fmla="*/ 481060 h 629392"/>
              <a:gd name="connsiteX9" fmla="*/ 1033153 w 1888176"/>
              <a:gd name="connsiteY9" fmla="*/ 534389 h 629392"/>
              <a:gd name="connsiteX10" fmla="*/ 1128155 w 1888176"/>
              <a:gd name="connsiteY10" fmla="*/ 154379 h 629392"/>
              <a:gd name="connsiteX11" fmla="*/ 1320805 w 1888176"/>
              <a:gd name="connsiteY11" fmla="*/ 88131 h 629392"/>
              <a:gd name="connsiteX12" fmla="*/ 1413163 w 1888176"/>
              <a:gd name="connsiteY12" fmla="*/ 629392 h 629392"/>
              <a:gd name="connsiteX13" fmla="*/ 1484415 w 1888176"/>
              <a:gd name="connsiteY13" fmla="*/ 451262 h 629392"/>
              <a:gd name="connsiteX14" fmla="*/ 1579418 w 1888176"/>
              <a:gd name="connsiteY14" fmla="*/ 556378 h 629392"/>
              <a:gd name="connsiteX15" fmla="*/ 1650670 w 1888176"/>
              <a:gd name="connsiteY15" fmla="*/ 439387 h 629392"/>
              <a:gd name="connsiteX16" fmla="*/ 1738414 w 1888176"/>
              <a:gd name="connsiteY16" fmla="*/ 171477 h 629392"/>
              <a:gd name="connsiteX17" fmla="*/ 1828800 w 1888176"/>
              <a:gd name="connsiteY17" fmla="*/ 296883 h 629392"/>
              <a:gd name="connsiteX18" fmla="*/ 1888176 w 1888176"/>
              <a:gd name="connsiteY18" fmla="*/ 463137 h 629392"/>
              <a:gd name="connsiteX19" fmla="*/ 1888176 w 1888176"/>
              <a:gd name="connsiteY19" fmla="*/ 463137 h 629392"/>
              <a:gd name="connsiteX20" fmla="*/ 1888176 w 1888176"/>
              <a:gd name="connsiteY20" fmla="*/ 463137 h 629392"/>
              <a:gd name="connsiteX0" fmla="*/ 0 w 1888176"/>
              <a:gd name="connsiteY0" fmla="*/ 113749 h 541261"/>
              <a:gd name="connsiteX1" fmla="*/ 21524 w 1888176"/>
              <a:gd name="connsiteY1" fmla="*/ 290457 h 541261"/>
              <a:gd name="connsiteX2" fmla="*/ 255104 w 1888176"/>
              <a:gd name="connsiteY2" fmla="*/ 167244 h 541261"/>
              <a:gd name="connsiteX3" fmla="*/ 285007 w 1888176"/>
              <a:gd name="connsiteY3" fmla="*/ 339380 h 541261"/>
              <a:gd name="connsiteX4" fmla="*/ 403761 w 1888176"/>
              <a:gd name="connsiteY4" fmla="*/ 30622 h 541261"/>
              <a:gd name="connsiteX5" fmla="*/ 486888 w 1888176"/>
              <a:gd name="connsiteY5" fmla="*/ 196877 h 541261"/>
              <a:gd name="connsiteX6" fmla="*/ 629393 w 1888176"/>
              <a:gd name="connsiteY6" fmla="*/ 47390 h 541261"/>
              <a:gd name="connsiteX7" fmla="*/ 748145 w 1888176"/>
              <a:gd name="connsiteY7" fmla="*/ 446258 h 541261"/>
              <a:gd name="connsiteX8" fmla="*/ 871512 w 1888176"/>
              <a:gd name="connsiteY8" fmla="*/ 392929 h 541261"/>
              <a:gd name="connsiteX9" fmla="*/ 1033153 w 1888176"/>
              <a:gd name="connsiteY9" fmla="*/ 446258 h 541261"/>
              <a:gd name="connsiteX10" fmla="*/ 1128155 w 1888176"/>
              <a:gd name="connsiteY10" fmla="*/ 66248 h 541261"/>
              <a:gd name="connsiteX11" fmla="*/ 1320805 w 1888176"/>
              <a:gd name="connsiteY11" fmla="*/ 0 h 541261"/>
              <a:gd name="connsiteX12" fmla="*/ 1413163 w 1888176"/>
              <a:gd name="connsiteY12" fmla="*/ 541261 h 541261"/>
              <a:gd name="connsiteX13" fmla="*/ 1484415 w 1888176"/>
              <a:gd name="connsiteY13" fmla="*/ 363131 h 541261"/>
              <a:gd name="connsiteX14" fmla="*/ 1579418 w 1888176"/>
              <a:gd name="connsiteY14" fmla="*/ 468247 h 541261"/>
              <a:gd name="connsiteX15" fmla="*/ 1650670 w 1888176"/>
              <a:gd name="connsiteY15" fmla="*/ 351256 h 541261"/>
              <a:gd name="connsiteX16" fmla="*/ 1738414 w 1888176"/>
              <a:gd name="connsiteY16" fmla="*/ 83346 h 541261"/>
              <a:gd name="connsiteX17" fmla="*/ 1828800 w 1888176"/>
              <a:gd name="connsiteY17" fmla="*/ 208752 h 541261"/>
              <a:gd name="connsiteX18" fmla="*/ 1888176 w 1888176"/>
              <a:gd name="connsiteY18" fmla="*/ 375006 h 541261"/>
              <a:gd name="connsiteX19" fmla="*/ 1888176 w 1888176"/>
              <a:gd name="connsiteY19" fmla="*/ 375006 h 541261"/>
              <a:gd name="connsiteX20" fmla="*/ 1888176 w 1888176"/>
              <a:gd name="connsiteY20" fmla="*/ 375006 h 541261"/>
              <a:gd name="connsiteX0" fmla="*/ 0 w 1888176"/>
              <a:gd name="connsiteY0" fmla="*/ 210676 h 638188"/>
              <a:gd name="connsiteX1" fmla="*/ 21524 w 1888176"/>
              <a:gd name="connsiteY1" fmla="*/ 387384 h 638188"/>
              <a:gd name="connsiteX2" fmla="*/ 255104 w 1888176"/>
              <a:gd name="connsiteY2" fmla="*/ 264171 h 638188"/>
              <a:gd name="connsiteX3" fmla="*/ 285007 w 1888176"/>
              <a:gd name="connsiteY3" fmla="*/ 436307 h 638188"/>
              <a:gd name="connsiteX4" fmla="*/ 434771 w 1888176"/>
              <a:gd name="connsiteY4" fmla="*/ 0 h 638188"/>
              <a:gd name="connsiteX5" fmla="*/ 486888 w 1888176"/>
              <a:gd name="connsiteY5" fmla="*/ 293804 h 638188"/>
              <a:gd name="connsiteX6" fmla="*/ 629393 w 1888176"/>
              <a:gd name="connsiteY6" fmla="*/ 144317 h 638188"/>
              <a:gd name="connsiteX7" fmla="*/ 748145 w 1888176"/>
              <a:gd name="connsiteY7" fmla="*/ 543185 h 638188"/>
              <a:gd name="connsiteX8" fmla="*/ 871512 w 1888176"/>
              <a:gd name="connsiteY8" fmla="*/ 489856 h 638188"/>
              <a:gd name="connsiteX9" fmla="*/ 1033153 w 1888176"/>
              <a:gd name="connsiteY9" fmla="*/ 543185 h 638188"/>
              <a:gd name="connsiteX10" fmla="*/ 1128155 w 1888176"/>
              <a:gd name="connsiteY10" fmla="*/ 163175 h 638188"/>
              <a:gd name="connsiteX11" fmla="*/ 1320805 w 1888176"/>
              <a:gd name="connsiteY11" fmla="*/ 96927 h 638188"/>
              <a:gd name="connsiteX12" fmla="*/ 1413163 w 1888176"/>
              <a:gd name="connsiteY12" fmla="*/ 638188 h 638188"/>
              <a:gd name="connsiteX13" fmla="*/ 1484415 w 1888176"/>
              <a:gd name="connsiteY13" fmla="*/ 460058 h 638188"/>
              <a:gd name="connsiteX14" fmla="*/ 1579418 w 1888176"/>
              <a:gd name="connsiteY14" fmla="*/ 565174 h 638188"/>
              <a:gd name="connsiteX15" fmla="*/ 1650670 w 1888176"/>
              <a:gd name="connsiteY15" fmla="*/ 448183 h 638188"/>
              <a:gd name="connsiteX16" fmla="*/ 1738414 w 1888176"/>
              <a:gd name="connsiteY16" fmla="*/ 180273 h 638188"/>
              <a:gd name="connsiteX17" fmla="*/ 1828800 w 1888176"/>
              <a:gd name="connsiteY17" fmla="*/ 305679 h 638188"/>
              <a:gd name="connsiteX18" fmla="*/ 1888176 w 1888176"/>
              <a:gd name="connsiteY18" fmla="*/ 471933 h 638188"/>
              <a:gd name="connsiteX19" fmla="*/ 1888176 w 1888176"/>
              <a:gd name="connsiteY19" fmla="*/ 471933 h 638188"/>
              <a:gd name="connsiteX20" fmla="*/ 1888176 w 1888176"/>
              <a:gd name="connsiteY20" fmla="*/ 471933 h 638188"/>
              <a:gd name="connsiteX0" fmla="*/ 0 w 1888176"/>
              <a:gd name="connsiteY0" fmla="*/ 222881 h 650393"/>
              <a:gd name="connsiteX1" fmla="*/ 21524 w 1888176"/>
              <a:gd name="connsiteY1" fmla="*/ 399589 h 650393"/>
              <a:gd name="connsiteX2" fmla="*/ 255104 w 1888176"/>
              <a:gd name="connsiteY2" fmla="*/ 276376 h 650393"/>
              <a:gd name="connsiteX3" fmla="*/ 285007 w 1888176"/>
              <a:gd name="connsiteY3" fmla="*/ 448512 h 650393"/>
              <a:gd name="connsiteX4" fmla="*/ 434771 w 1888176"/>
              <a:gd name="connsiteY4" fmla="*/ 12205 h 650393"/>
              <a:gd name="connsiteX5" fmla="*/ 486888 w 1888176"/>
              <a:gd name="connsiteY5" fmla="*/ 306009 h 650393"/>
              <a:gd name="connsiteX6" fmla="*/ 629393 w 1888176"/>
              <a:gd name="connsiteY6" fmla="*/ 156522 h 650393"/>
              <a:gd name="connsiteX7" fmla="*/ 748145 w 1888176"/>
              <a:gd name="connsiteY7" fmla="*/ 555390 h 650393"/>
              <a:gd name="connsiteX8" fmla="*/ 871512 w 1888176"/>
              <a:gd name="connsiteY8" fmla="*/ 502061 h 650393"/>
              <a:gd name="connsiteX9" fmla="*/ 1033153 w 1888176"/>
              <a:gd name="connsiteY9" fmla="*/ 555390 h 650393"/>
              <a:gd name="connsiteX10" fmla="*/ 1128155 w 1888176"/>
              <a:gd name="connsiteY10" fmla="*/ 0 h 650393"/>
              <a:gd name="connsiteX11" fmla="*/ 1320805 w 1888176"/>
              <a:gd name="connsiteY11" fmla="*/ 109132 h 650393"/>
              <a:gd name="connsiteX12" fmla="*/ 1413163 w 1888176"/>
              <a:gd name="connsiteY12" fmla="*/ 650393 h 650393"/>
              <a:gd name="connsiteX13" fmla="*/ 1484415 w 1888176"/>
              <a:gd name="connsiteY13" fmla="*/ 472263 h 650393"/>
              <a:gd name="connsiteX14" fmla="*/ 1579418 w 1888176"/>
              <a:gd name="connsiteY14" fmla="*/ 577379 h 650393"/>
              <a:gd name="connsiteX15" fmla="*/ 1650670 w 1888176"/>
              <a:gd name="connsiteY15" fmla="*/ 460388 h 650393"/>
              <a:gd name="connsiteX16" fmla="*/ 1738414 w 1888176"/>
              <a:gd name="connsiteY16" fmla="*/ 192478 h 650393"/>
              <a:gd name="connsiteX17" fmla="*/ 1828800 w 1888176"/>
              <a:gd name="connsiteY17" fmla="*/ 317884 h 650393"/>
              <a:gd name="connsiteX18" fmla="*/ 1888176 w 1888176"/>
              <a:gd name="connsiteY18" fmla="*/ 484138 h 650393"/>
              <a:gd name="connsiteX19" fmla="*/ 1888176 w 1888176"/>
              <a:gd name="connsiteY19" fmla="*/ 484138 h 650393"/>
              <a:gd name="connsiteX20" fmla="*/ 1888176 w 1888176"/>
              <a:gd name="connsiteY20" fmla="*/ 484138 h 650393"/>
              <a:gd name="connsiteX0" fmla="*/ 0 w 1888176"/>
              <a:gd name="connsiteY0" fmla="*/ 222881 h 650393"/>
              <a:gd name="connsiteX1" fmla="*/ 21524 w 1888176"/>
              <a:gd name="connsiteY1" fmla="*/ 399589 h 650393"/>
              <a:gd name="connsiteX2" fmla="*/ 255104 w 1888176"/>
              <a:gd name="connsiteY2" fmla="*/ 276376 h 650393"/>
              <a:gd name="connsiteX3" fmla="*/ 285007 w 1888176"/>
              <a:gd name="connsiteY3" fmla="*/ 448512 h 650393"/>
              <a:gd name="connsiteX4" fmla="*/ 434771 w 1888176"/>
              <a:gd name="connsiteY4" fmla="*/ 12205 h 650393"/>
              <a:gd name="connsiteX5" fmla="*/ 486888 w 1888176"/>
              <a:gd name="connsiteY5" fmla="*/ 306009 h 650393"/>
              <a:gd name="connsiteX6" fmla="*/ 629393 w 1888176"/>
              <a:gd name="connsiteY6" fmla="*/ 156522 h 650393"/>
              <a:gd name="connsiteX7" fmla="*/ 748145 w 1888176"/>
              <a:gd name="connsiteY7" fmla="*/ 555390 h 650393"/>
              <a:gd name="connsiteX8" fmla="*/ 871512 w 1888176"/>
              <a:gd name="connsiteY8" fmla="*/ 502061 h 650393"/>
              <a:gd name="connsiteX9" fmla="*/ 1033153 w 1888176"/>
              <a:gd name="connsiteY9" fmla="*/ 555390 h 650393"/>
              <a:gd name="connsiteX10" fmla="*/ 1128155 w 1888176"/>
              <a:gd name="connsiteY10" fmla="*/ 0 h 650393"/>
              <a:gd name="connsiteX11" fmla="*/ 1320805 w 1888176"/>
              <a:gd name="connsiteY11" fmla="*/ 109132 h 650393"/>
              <a:gd name="connsiteX12" fmla="*/ 1413163 w 1888176"/>
              <a:gd name="connsiteY12" fmla="*/ 650393 h 650393"/>
              <a:gd name="connsiteX13" fmla="*/ 1515425 w 1888176"/>
              <a:gd name="connsiteY13" fmla="*/ 249053 h 650393"/>
              <a:gd name="connsiteX14" fmla="*/ 1579418 w 1888176"/>
              <a:gd name="connsiteY14" fmla="*/ 577379 h 650393"/>
              <a:gd name="connsiteX15" fmla="*/ 1650670 w 1888176"/>
              <a:gd name="connsiteY15" fmla="*/ 460388 h 650393"/>
              <a:gd name="connsiteX16" fmla="*/ 1738414 w 1888176"/>
              <a:gd name="connsiteY16" fmla="*/ 192478 h 650393"/>
              <a:gd name="connsiteX17" fmla="*/ 1828800 w 1888176"/>
              <a:gd name="connsiteY17" fmla="*/ 317884 h 650393"/>
              <a:gd name="connsiteX18" fmla="*/ 1888176 w 1888176"/>
              <a:gd name="connsiteY18" fmla="*/ 484138 h 650393"/>
              <a:gd name="connsiteX19" fmla="*/ 1888176 w 1888176"/>
              <a:gd name="connsiteY19" fmla="*/ 484138 h 650393"/>
              <a:gd name="connsiteX20" fmla="*/ 1888176 w 1888176"/>
              <a:gd name="connsiteY20" fmla="*/ 484138 h 650393"/>
              <a:gd name="connsiteX0" fmla="*/ 0 w 1888176"/>
              <a:gd name="connsiteY0" fmla="*/ 222881 h 667656"/>
              <a:gd name="connsiteX1" fmla="*/ 21524 w 1888176"/>
              <a:gd name="connsiteY1" fmla="*/ 399589 h 667656"/>
              <a:gd name="connsiteX2" fmla="*/ 255104 w 1888176"/>
              <a:gd name="connsiteY2" fmla="*/ 276376 h 667656"/>
              <a:gd name="connsiteX3" fmla="*/ 285007 w 1888176"/>
              <a:gd name="connsiteY3" fmla="*/ 448512 h 667656"/>
              <a:gd name="connsiteX4" fmla="*/ 434771 w 1888176"/>
              <a:gd name="connsiteY4" fmla="*/ 12205 h 667656"/>
              <a:gd name="connsiteX5" fmla="*/ 486888 w 1888176"/>
              <a:gd name="connsiteY5" fmla="*/ 306009 h 667656"/>
              <a:gd name="connsiteX6" fmla="*/ 629393 w 1888176"/>
              <a:gd name="connsiteY6" fmla="*/ 156522 h 667656"/>
              <a:gd name="connsiteX7" fmla="*/ 748145 w 1888176"/>
              <a:gd name="connsiteY7" fmla="*/ 555390 h 667656"/>
              <a:gd name="connsiteX8" fmla="*/ 871512 w 1888176"/>
              <a:gd name="connsiteY8" fmla="*/ 502061 h 667656"/>
              <a:gd name="connsiteX9" fmla="*/ 1033153 w 1888176"/>
              <a:gd name="connsiteY9" fmla="*/ 555390 h 667656"/>
              <a:gd name="connsiteX10" fmla="*/ 1128155 w 1888176"/>
              <a:gd name="connsiteY10" fmla="*/ 0 h 667656"/>
              <a:gd name="connsiteX11" fmla="*/ 1320805 w 1888176"/>
              <a:gd name="connsiteY11" fmla="*/ 109132 h 667656"/>
              <a:gd name="connsiteX12" fmla="*/ 1413163 w 1888176"/>
              <a:gd name="connsiteY12" fmla="*/ 650393 h 667656"/>
              <a:gd name="connsiteX13" fmla="*/ 1515425 w 1888176"/>
              <a:gd name="connsiteY13" fmla="*/ 249053 h 667656"/>
              <a:gd name="connsiteX14" fmla="*/ 1579418 w 1888176"/>
              <a:gd name="connsiteY14" fmla="*/ 577379 h 667656"/>
              <a:gd name="connsiteX15" fmla="*/ 1661008 w 1888176"/>
              <a:gd name="connsiteY15" fmla="*/ 667656 h 667656"/>
              <a:gd name="connsiteX16" fmla="*/ 1738414 w 1888176"/>
              <a:gd name="connsiteY16" fmla="*/ 192478 h 667656"/>
              <a:gd name="connsiteX17" fmla="*/ 1828800 w 1888176"/>
              <a:gd name="connsiteY17" fmla="*/ 317884 h 667656"/>
              <a:gd name="connsiteX18" fmla="*/ 1888176 w 1888176"/>
              <a:gd name="connsiteY18" fmla="*/ 484138 h 667656"/>
              <a:gd name="connsiteX19" fmla="*/ 1888176 w 1888176"/>
              <a:gd name="connsiteY19" fmla="*/ 484138 h 667656"/>
              <a:gd name="connsiteX20" fmla="*/ 1888176 w 1888176"/>
              <a:gd name="connsiteY20" fmla="*/ 484138 h 667656"/>
              <a:gd name="connsiteX0" fmla="*/ 0 w 1888176"/>
              <a:gd name="connsiteY0" fmla="*/ 222881 h 667656"/>
              <a:gd name="connsiteX1" fmla="*/ 21524 w 1888176"/>
              <a:gd name="connsiteY1" fmla="*/ 399589 h 667656"/>
              <a:gd name="connsiteX2" fmla="*/ 255104 w 1888176"/>
              <a:gd name="connsiteY2" fmla="*/ 276376 h 667656"/>
              <a:gd name="connsiteX3" fmla="*/ 285007 w 1888176"/>
              <a:gd name="connsiteY3" fmla="*/ 448512 h 667656"/>
              <a:gd name="connsiteX4" fmla="*/ 434771 w 1888176"/>
              <a:gd name="connsiteY4" fmla="*/ 12205 h 667656"/>
              <a:gd name="connsiteX5" fmla="*/ 486888 w 1888176"/>
              <a:gd name="connsiteY5" fmla="*/ 306009 h 667656"/>
              <a:gd name="connsiteX6" fmla="*/ 629393 w 1888176"/>
              <a:gd name="connsiteY6" fmla="*/ 156522 h 667656"/>
              <a:gd name="connsiteX7" fmla="*/ 748145 w 1888176"/>
              <a:gd name="connsiteY7" fmla="*/ 555390 h 667656"/>
              <a:gd name="connsiteX8" fmla="*/ 871512 w 1888176"/>
              <a:gd name="connsiteY8" fmla="*/ 502061 h 667656"/>
              <a:gd name="connsiteX9" fmla="*/ 1033153 w 1888176"/>
              <a:gd name="connsiteY9" fmla="*/ 555390 h 667656"/>
              <a:gd name="connsiteX10" fmla="*/ 1128155 w 1888176"/>
              <a:gd name="connsiteY10" fmla="*/ 0 h 667656"/>
              <a:gd name="connsiteX11" fmla="*/ 1320805 w 1888176"/>
              <a:gd name="connsiteY11" fmla="*/ 109132 h 667656"/>
              <a:gd name="connsiteX12" fmla="*/ 1413163 w 1888176"/>
              <a:gd name="connsiteY12" fmla="*/ 650393 h 667656"/>
              <a:gd name="connsiteX13" fmla="*/ 1515425 w 1888176"/>
              <a:gd name="connsiteY13" fmla="*/ 249053 h 667656"/>
              <a:gd name="connsiteX14" fmla="*/ 1579418 w 1888176"/>
              <a:gd name="connsiteY14" fmla="*/ 577379 h 667656"/>
              <a:gd name="connsiteX15" fmla="*/ 1661008 w 1888176"/>
              <a:gd name="connsiteY15" fmla="*/ 667656 h 667656"/>
              <a:gd name="connsiteX16" fmla="*/ 1738414 w 1888176"/>
              <a:gd name="connsiteY16" fmla="*/ 192478 h 667656"/>
              <a:gd name="connsiteX17" fmla="*/ 1880485 w 1888176"/>
              <a:gd name="connsiteY17" fmla="*/ 86701 h 667656"/>
              <a:gd name="connsiteX18" fmla="*/ 1888176 w 1888176"/>
              <a:gd name="connsiteY18" fmla="*/ 484138 h 667656"/>
              <a:gd name="connsiteX19" fmla="*/ 1888176 w 1888176"/>
              <a:gd name="connsiteY19" fmla="*/ 484138 h 667656"/>
              <a:gd name="connsiteX20" fmla="*/ 1888176 w 1888176"/>
              <a:gd name="connsiteY20" fmla="*/ 484138 h 667656"/>
              <a:gd name="connsiteX0" fmla="*/ 0 w 1981207"/>
              <a:gd name="connsiteY0" fmla="*/ 222881 h 667656"/>
              <a:gd name="connsiteX1" fmla="*/ 21524 w 1981207"/>
              <a:gd name="connsiteY1" fmla="*/ 399589 h 667656"/>
              <a:gd name="connsiteX2" fmla="*/ 255104 w 1981207"/>
              <a:gd name="connsiteY2" fmla="*/ 276376 h 667656"/>
              <a:gd name="connsiteX3" fmla="*/ 285007 w 1981207"/>
              <a:gd name="connsiteY3" fmla="*/ 448512 h 667656"/>
              <a:gd name="connsiteX4" fmla="*/ 434771 w 1981207"/>
              <a:gd name="connsiteY4" fmla="*/ 12205 h 667656"/>
              <a:gd name="connsiteX5" fmla="*/ 486888 w 1981207"/>
              <a:gd name="connsiteY5" fmla="*/ 306009 h 667656"/>
              <a:gd name="connsiteX6" fmla="*/ 629393 w 1981207"/>
              <a:gd name="connsiteY6" fmla="*/ 156522 h 667656"/>
              <a:gd name="connsiteX7" fmla="*/ 748145 w 1981207"/>
              <a:gd name="connsiteY7" fmla="*/ 555390 h 667656"/>
              <a:gd name="connsiteX8" fmla="*/ 871512 w 1981207"/>
              <a:gd name="connsiteY8" fmla="*/ 502061 h 667656"/>
              <a:gd name="connsiteX9" fmla="*/ 1033153 w 1981207"/>
              <a:gd name="connsiteY9" fmla="*/ 555390 h 667656"/>
              <a:gd name="connsiteX10" fmla="*/ 1128155 w 1981207"/>
              <a:gd name="connsiteY10" fmla="*/ 0 h 667656"/>
              <a:gd name="connsiteX11" fmla="*/ 1320805 w 1981207"/>
              <a:gd name="connsiteY11" fmla="*/ 109132 h 667656"/>
              <a:gd name="connsiteX12" fmla="*/ 1413163 w 1981207"/>
              <a:gd name="connsiteY12" fmla="*/ 650393 h 667656"/>
              <a:gd name="connsiteX13" fmla="*/ 1515425 w 1981207"/>
              <a:gd name="connsiteY13" fmla="*/ 249053 h 667656"/>
              <a:gd name="connsiteX14" fmla="*/ 1579418 w 1981207"/>
              <a:gd name="connsiteY14" fmla="*/ 577379 h 667656"/>
              <a:gd name="connsiteX15" fmla="*/ 1661008 w 1981207"/>
              <a:gd name="connsiteY15" fmla="*/ 667656 h 667656"/>
              <a:gd name="connsiteX16" fmla="*/ 1738414 w 1981207"/>
              <a:gd name="connsiteY16" fmla="*/ 192478 h 667656"/>
              <a:gd name="connsiteX17" fmla="*/ 1880485 w 1981207"/>
              <a:gd name="connsiteY17" fmla="*/ 86701 h 667656"/>
              <a:gd name="connsiteX18" fmla="*/ 1888176 w 1981207"/>
              <a:gd name="connsiteY18" fmla="*/ 484138 h 667656"/>
              <a:gd name="connsiteX19" fmla="*/ 1888176 w 1981207"/>
              <a:gd name="connsiteY19" fmla="*/ 484138 h 667656"/>
              <a:gd name="connsiteX20" fmla="*/ 1981207 w 1981207"/>
              <a:gd name="connsiteY20" fmla="*/ 260927 h 667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981207" h="667656">
                <a:moveTo>
                  <a:pt x="0" y="222881"/>
                </a:moveTo>
                <a:lnTo>
                  <a:pt x="21524" y="399589"/>
                </a:lnTo>
                <a:lnTo>
                  <a:pt x="255104" y="276376"/>
                </a:lnTo>
                <a:lnTo>
                  <a:pt x="285007" y="448512"/>
                </a:lnTo>
                <a:lnTo>
                  <a:pt x="434771" y="12205"/>
                </a:lnTo>
                <a:lnTo>
                  <a:pt x="486888" y="306009"/>
                </a:lnTo>
                <a:lnTo>
                  <a:pt x="629393" y="156522"/>
                </a:lnTo>
                <a:lnTo>
                  <a:pt x="748145" y="555390"/>
                </a:lnTo>
                <a:lnTo>
                  <a:pt x="871512" y="502061"/>
                </a:lnTo>
                <a:lnTo>
                  <a:pt x="1033153" y="555390"/>
                </a:lnTo>
                <a:lnTo>
                  <a:pt x="1128155" y="0"/>
                </a:lnTo>
                <a:lnTo>
                  <a:pt x="1320805" y="109132"/>
                </a:lnTo>
                <a:cubicBezTo>
                  <a:pt x="1382601" y="425074"/>
                  <a:pt x="1382377" y="469973"/>
                  <a:pt x="1413163" y="650393"/>
                </a:cubicBezTo>
                <a:lnTo>
                  <a:pt x="1515425" y="249053"/>
                </a:lnTo>
                <a:lnTo>
                  <a:pt x="1579418" y="577379"/>
                </a:lnTo>
                <a:lnTo>
                  <a:pt x="1661008" y="667656"/>
                </a:lnTo>
                <a:lnTo>
                  <a:pt x="1738414" y="192478"/>
                </a:lnTo>
                <a:lnTo>
                  <a:pt x="1880485" y="86701"/>
                </a:lnTo>
                <a:lnTo>
                  <a:pt x="1888176" y="484138"/>
                </a:lnTo>
                <a:lnTo>
                  <a:pt x="1888176" y="484138"/>
                </a:lnTo>
                <a:lnTo>
                  <a:pt x="1981207" y="260927"/>
                </a:lnTo>
              </a:path>
            </a:pathLst>
          </a:cu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Freeform 53">
            <a:extLst>
              <a:ext uri="{FF2B5EF4-FFF2-40B4-BE49-F238E27FC236}">
                <a16:creationId xmlns:a16="http://schemas.microsoft.com/office/drawing/2014/main" id="{2516EF0A-AD66-4823-891C-6FFD7CC9313F}"/>
              </a:ext>
            </a:extLst>
          </p:cNvPr>
          <p:cNvSpPr/>
          <p:nvPr/>
        </p:nvSpPr>
        <p:spPr>
          <a:xfrm>
            <a:off x="9339577" y="2454411"/>
            <a:ext cx="1069591" cy="912234"/>
          </a:xfrm>
          <a:custGeom>
            <a:avLst/>
            <a:gdLst>
              <a:gd name="connsiteX0" fmla="*/ 0 w 1888176"/>
              <a:gd name="connsiteY0" fmla="*/ 213756 h 641268"/>
              <a:gd name="connsiteX1" fmla="*/ 213755 w 1888176"/>
              <a:gd name="connsiteY1" fmla="*/ 54626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486888 w 1888176"/>
              <a:gd name="connsiteY4" fmla="*/ 296884 h 641268"/>
              <a:gd name="connsiteX5" fmla="*/ 629392 w 1888176"/>
              <a:gd name="connsiteY5" fmla="*/ 11876 h 641268"/>
              <a:gd name="connsiteX6" fmla="*/ 748145 w 1888176"/>
              <a:gd name="connsiteY6" fmla="*/ 546265 h 641268"/>
              <a:gd name="connsiteX7" fmla="*/ 902524 w 1888176"/>
              <a:gd name="connsiteY7" fmla="*/ 190006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213755 w 1888176"/>
              <a:gd name="connsiteY1" fmla="*/ 54626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486888 w 1888176"/>
              <a:gd name="connsiteY4" fmla="*/ 296884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190006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213755 w 1888176"/>
              <a:gd name="connsiteY1" fmla="*/ 54626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507561 w 1888176"/>
              <a:gd name="connsiteY4" fmla="*/ 225139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190006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193083 w 1888176"/>
              <a:gd name="connsiteY1" fmla="*/ 33102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507561 w 1888176"/>
              <a:gd name="connsiteY4" fmla="*/ 225139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190006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193083 w 1888176"/>
              <a:gd name="connsiteY1" fmla="*/ 33102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507561 w 1888176"/>
              <a:gd name="connsiteY4" fmla="*/ 225139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293640 h 641268"/>
              <a:gd name="connsiteX8" fmla="*/ 1033153 w 1888176"/>
              <a:gd name="connsiteY8" fmla="*/ 546265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193083 w 1888176"/>
              <a:gd name="connsiteY1" fmla="*/ 33102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507561 w 1888176"/>
              <a:gd name="connsiteY4" fmla="*/ 225139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293640 h 641268"/>
              <a:gd name="connsiteX8" fmla="*/ 991807 w 1888176"/>
              <a:gd name="connsiteY8" fmla="*/ 187532 h 641268"/>
              <a:gd name="connsiteX9" fmla="*/ 1128155 w 1888176"/>
              <a:gd name="connsiteY9" fmla="*/ 166255 h 641268"/>
              <a:gd name="connsiteX10" fmla="*/ 1258784 w 1888176"/>
              <a:gd name="connsiteY10" fmla="*/ 522515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641268"/>
              <a:gd name="connsiteX1" fmla="*/ 193083 w 1888176"/>
              <a:gd name="connsiteY1" fmla="*/ 331025 h 641268"/>
              <a:gd name="connsiteX2" fmla="*/ 285007 w 1888176"/>
              <a:gd name="connsiteY2" fmla="*/ 439387 h 641268"/>
              <a:gd name="connsiteX3" fmla="*/ 403761 w 1888176"/>
              <a:gd name="connsiteY3" fmla="*/ 130629 h 641268"/>
              <a:gd name="connsiteX4" fmla="*/ 507561 w 1888176"/>
              <a:gd name="connsiteY4" fmla="*/ 225139 h 641268"/>
              <a:gd name="connsiteX5" fmla="*/ 629392 w 1888176"/>
              <a:gd name="connsiteY5" fmla="*/ 11876 h 641268"/>
              <a:gd name="connsiteX6" fmla="*/ 779155 w 1888176"/>
              <a:gd name="connsiteY6" fmla="*/ 466547 h 641268"/>
              <a:gd name="connsiteX7" fmla="*/ 902524 w 1888176"/>
              <a:gd name="connsiteY7" fmla="*/ 293640 h 641268"/>
              <a:gd name="connsiteX8" fmla="*/ 991807 w 1888176"/>
              <a:gd name="connsiteY8" fmla="*/ 187532 h 641268"/>
              <a:gd name="connsiteX9" fmla="*/ 1128155 w 1888176"/>
              <a:gd name="connsiteY9" fmla="*/ 166255 h 641268"/>
              <a:gd name="connsiteX10" fmla="*/ 1258783 w 1888176"/>
              <a:gd name="connsiteY10" fmla="*/ 355107 h 641268"/>
              <a:gd name="connsiteX11" fmla="*/ 1413163 w 1888176"/>
              <a:gd name="connsiteY11" fmla="*/ 641268 h 641268"/>
              <a:gd name="connsiteX12" fmla="*/ 1484415 w 1888176"/>
              <a:gd name="connsiteY12" fmla="*/ 463138 h 641268"/>
              <a:gd name="connsiteX13" fmla="*/ 1579418 w 1888176"/>
              <a:gd name="connsiteY13" fmla="*/ 249382 h 641268"/>
              <a:gd name="connsiteX14" fmla="*/ 1650670 w 1888176"/>
              <a:gd name="connsiteY14" fmla="*/ 451263 h 641268"/>
              <a:gd name="connsiteX15" fmla="*/ 1769423 w 1888176"/>
              <a:gd name="connsiteY15" fmla="*/ 0 h 641268"/>
              <a:gd name="connsiteX16" fmla="*/ 1828800 w 1888176"/>
              <a:gd name="connsiteY16" fmla="*/ 308759 h 641268"/>
              <a:gd name="connsiteX17" fmla="*/ 1888176 w 1888176"/>
              <a:gd name="connsiteY17" fmla="*/ 475013 h 641268"/>
              <a:gd name="connsiteX18" fmla="*/ 1888176 w 1888176"/>
              <a:gd name="connsiteY18" fmla="*/ 475013 h 641268"/>
              <a:gd name="connsiteX19" fmla="*/ 1888176 w 1888176"/>
              <a:gd name="connsiteY19" fmla="*/ 475013 h 641268"/>
              <a:gd name="connsiteX0" fmla="*/ 0 w 1888176"/>
              <a:gd name="connsiteY0" fmla="*/ 213756 h 513719"/>
              <a:gd name="connsiteX1" fmla="*/ 193083 w 1888176"/>
              <a:gd name="connsiteY1" fmla="*/ 331025 h 513719"/>
              <a:gd name="connsiteX2" fmla="*/ 285007 w 1888176"/>
              <a:gd name="connsiteY2" fmla="*/ 439387 h 513719"/>
              <a:gd name="connsiteX3" fmla="*/ 403761 w 1888176"/>
              <a:gd name="connsiteY3" fmla="*/ 130629 h 513719"/>
              <a:gd name="connsiteX4" fmla="*/ 507561 w 1888176"/>
              <a:gd name="connsiteY4" fmla="*/ 225139 h 513719"/>
              <a:gd name="connsiteX5" fmla="*/ 629392 w 1888176"/>
              <a:gd name="connsiteY5" fmla="*/ 11876 h 513719"/>
              <a:gd name="connsiteX6" fmla="*/ 779155 w 1888176"/>
              <a:gd name="connsiteY6" fmla="*/ 466547 h 513719"/>
              <a:gd name="connsiteX7" fmla="*/ 902524 w 1888176"/>
              <a:gd name="connsiteY7" fmla="*/ 293640 h 513719"/>
              <a:gd name="connsiteX8" fmla="*/ 991807 w 1888176"/>
              <a:gd name="connsiteY8" fmla="*/ 187532 h 513719"/>
              <a:gd name="connsiteX9" fmla="*/ 1128155 w 1888176"/>
              <a:gd name="connsiteY9" fmla="*/ 166255 h 513719"/>
              <a:gd name="connsiteX10" fmla="*/ 1258783 w 1888176"/>
              <a:gd name="connsiteY10" fmla="*/ 355107 h 513719"/>
              <a:gd name="connsiteX11" fmla="*/ 1392489 w 1888176"/>
              <a:gd name="connsiteY11" fmla="*/ 513719 h 513719"/>
              <a:gd name="connsiteX12" fmla="*/ 1484415 w 1888176"/>
              <a:gd name="connsiteY12" fmla="*/ 463138 h 513719"/>
              <a:gd name="connsiteX13" fmla="*/ 1579418 w 1888176"/>
              <a:gd name="connsiteY13" fmla="*/ 249382 h 513719"/>
              <a:gd name="connsiteX14" fmla="*/ 1650670 w 1888176"/>
              <a:gd name="connsiteY14" fmla="*/ 451263 h 513719"/>
              <a:gd name="connsiteX15" fmla="*/ 1769423 w 1888176"/>
              <a:gd name="connsiteY15" fmla="*/ 0 h 513719"/>
              <a:gd name="connsiteX16" fmla="*/ 1828800 w 1888176"/>
              <a:gd name="connsiteY16" fmla="*/ 308759 h 513719"/>
              <a:gd name="connsiteX17" fmla="*/ 1888176 w 1888176"/>
              <a:gd name="connsiteY17" fmla="*/ 475013 h 513719"/>
              <a:gd name="connsiteX18" fmla="*/ 1888176 w 1888176"/>
              <a:gd name="connsiteY18" fmla="*/ 475013 h 513719"/>
              <a:gd name="connsiteX19" fmla="*/ 1888176 w 1888176"/>
              <a:gd name="connsiteY19" fmla="*/ 475013 h 513719"/>
              <a:gd name="connsiteX0" fmla="*/ 0 w 1888176"/>
              <a:gd name="connsiteY0" fmla="*/ 213756 h 719720"/>
              <a:gd name="connsiteX1" fmla="*/ 193083 w 1888176"/>
              <a:gd name="connsiteY1" fmla="*/ 331025 h 719720"/>
              <a:gd name="connsiteX2" fmla="*/ 285007 w 1888176"/>
              <a:gd name="connsiteY2" fmla="*/ 439387 h 719720"/>
              <a:gd name="connsiteX3" fmla="*/ 403761 w 1888176"/>
              <a:gd name="connsiteY3" fmla="*/ 130629 h 719720"/>
              <a:gd name="connsiteX4" fmla="*/ 507561 w 1888176"/>
              <a:gd name="connsiteY4" fmla="*/ 225139 h 719720"/>
              <a:gd name="connsiteX5" fmla="*/ 629392 w 1888176"/>
              <a:gd name="connsiteY5" fmla="*/ 11876 h 719720"/>
              <a:gd name="connsiteX6" fmla="*/ 779155 w 1888176"/>
              <a:gd name="connsiteY6" fmla="*/ 466547 h 719720"/>
              <a:gd name="connsiteX7" fmla="*/ 902524 w 1888176"/>
              <a:gd name="connsiteY7" fmla="*/ 293640 h 719720"/>
              <a:gd name="connsiteX8" fmla="*/ 991807 w 1888176"/>
              <a:gd name="connsiteY8" fmla="*/ 187532 h 719720"/>
              <a:gd name="connsiteX9" fmla="*/ 1128155 w 1888176"/>
              <a:gd name="connsiteY9" fmla="*/ 166255 h 719720"/>
              <a:gd name="connsiteX10" fmla="*/ 1258783 w 1888176"/>
              <a:gd name="connsiteY10" fmla="*/ 355107 h 719720"/>
              <a:gd name="connsiteX11" fmla="*/ 1392489 w 1888176"/>
              <a:gd name="connsiteY11" fmla="*/ 513719 h 719720"/>
              <a:gd name="connsiteX12" fmla="*/ 1484415 w 1888176"/>
              <a:gd name="connsiteY12" fmla="*/ 463138 h 719720"/>
              <a:gd name="connsiteX13" fmla="*/ 1579418 w 1888176"/>
              <a:gd name="connsiteY13" fmla="*/ 719720 h 719720"/>
              <a:gd name="connsiteX14" fmla="*/ 1650670 w 1888176"/>
              <a:gd name="connsiteY14" fmla="*/ 451263 h 719720"/>
              <a:gd name="connsiteX15" fmla="*/ 1769423 w 1888176"/>
              <a:gd name="connsiteY15" fmla="*/ 0 h 719720"/>
              <a:gd name="connsiteX16" fmla="*/ 1828800 w 1888176"/>
              <a:gd name="connsiteY16" fmla="*/ 308759 h 719720"/>
              <a:gd name="connsiteX17" fmla="*/ 1888176 w 1888176"/>
              <a:gd name="connsiteY17" fmla="*/ 475013 h 719720"/>
              <a:gd name="connsiteX18" fmla="*/ 1888176 w 1888176"/>
              <a:gd name="connsiteY18" fmla="*/ 475013 h 719720"/>
              <a:gd name="connsiteX19" fmla="*/ 1888176 w 1888176"/>
              <a:gd name="connsiteY19" fmla="*/ 475013 h 719720"/>
              <a:gd name="connsiteX0" fmla="*/ 0 w 1888176"/>
              <a:gd name="connsiteY0" fmla="*/ 201880 h 707844"/>
              <a:gd name="connsiteX1" fmla="*/ 193083 w 1888176"/>
              <a:gd name="connsiteY1" fmla="*/ 319149 h 707844"/>
              <a:gd name="connsiteX2" fmla="*/ 285007 w 1888176"/>
              <a:gd name="connsiteY2" fmla="*/ 427511 h 707844"/>
              <a:gd name="connsiteX3" fmla="*/ 403761 w 1888176"/>
              <a:gd name="connsiteY3" fmla="*/ 118753 h 707844"/>
              <a:gd name="connsiteX4" fmla="*/ 507561 w 1888176"/>
              <a:gd name="connsiteY4" fmla="*/ 213263 h 707844"/>
              <a:gd name="connsiteX5" fmla="*/ 629392 w 1888176"/>
              <a:gd name="connsiteY5" fmla="*/ 0 h 707844"/>
              <a:gd name="connsiteX6" fmla="*/ 779155 w 1888176"/>
              <a:gd name="connsiteY6" fmla="*/ 454671 h 707844"/>
              <a:gd name="connsiteX7" fmla="*/ 902524 w 1888176"/>
              <a:gd name="connsiteY7" fmla="*/ 281764 h 707844"/>
              <a:gd name="connsiteX8" fmla="*/ 991807 w 1888176"/>
              <a:gd name="connsiteY8" fmla="*/ 175656 h 707844"/>
              <a:gd name="connsiteX9" fmla="*/ 1128155 w 1888176"/>
              <a:gd name="connsiteY9" fmla="*/ 154379 h 707844"/>
              <a:gd name="connsiteX10" fmla="*/ 1258783 w 1888176"/>
              <a:gd name="connsiteY10" fmla="*/ 343231 h 707844"/>
              <a:gd name="connsiteX11" fmla="*/ 1392489 w 1888176"/>
              <a:gd name="connsiteY11" fmla="*/ 501843 h 707844"/>
              <a:gd name="connsiteX12" fmla="*/ 1484415 w 1888176"/>
              <a:gd name="connsiteY12" fmla="*/ 451262 h 707844"/>
              <a:gd name="connsiteX13" fmla="*/ 1579418 w 1888176"/>
              <a:gd name="connsiteY13" fmla="*/ 707844 h 707844"/>
              <a:gd name="connsiteX14" fmla="*/ 1650670 w 1888176"/>
              <a:gd name="connsiteY14" fmla="*/ 439387 h 707844"/>
              <a:gd name="connsiteX15" fmla="*/ 1759086 w 1888176"/>
              <a:gd name="connsiteY15" fmla="*/ 155532 h 707844"/>
              <a:gd name="connsiteX16" fmla="*/ 1828800 w 1888176"/>
              <a:gd name="connsiteY16" fmla="*/ 296883 h 707844"/>
              <a:gd name="connsiteX17" fmla="*/ 1888176 w 1888176"/>
              <a:gd name="connsiteY17" fmla="*/ 463137 h 707844"/>
              <a:gd name="connsiteX18" fmla="*/ 1888176 w 1888176"/>
              <a:gd name="connsiteY18" fmla="*/ 463137 h 707844"/>
              <a:gd name="connsiteX19" fmla="*/ 1888176 w 1888176"/>
              <a:gd name="connsiteY19" fmla="*/ 463137 h 707844"/>
              <a:gd name="connsiteX0" fmla="*/ 0 w 1888176"/>
              <a:gd name="connsiteY0" fmla="*/ 201880 h 754356"/>
              <a:gd name="connsiteX1" fmla="*/ 193083 w 1888176"/>
              <a:gd name="connsiteY1" fmla="*/ 319149 h 754356"/>
              <a:gd name="connsiteX2" fmla="*/ 326354 w 1888176"/>
              <a:gd name="connsiteY2" fmla="*/ 754356 h 754356"/>
              <a:gd name="connsiteX3" fmla="*/ 403761 w 1888176"/>
              <a:gd name="connsiteY3" fmla="*/ 118753 h 754356"/>
              <a:gd name="connsiteX4" fmla="*/ 507561 w 1888176"/>
              <a:gd name="connsiteY4" fmla="*/ 213263 h 754356"/>
              <a:gd name="connsiteX5" fmla="*/ 629392 w 1888176"/>
              <a:gd name="connsiteY5" fmla="*/ 0 h 754356"/>
              <a:gd name="connsiteX6" fmla="*/ 779155 w 1888176"/>
              <a:gd name="connsiteY6" fmla="*/ 454671 h 754356"/>
              <a:gd name="connsiteX7" fmla="*/ 902524 w 1888176"/>
              <a:gd name="connsiteY7" fmla="*/ 281764 h 754356"/>
              <a:gd name="connsiteX8" fmla="*/ 991807 w 1888176"/>
              <a:gd name="connsiteY8" fmla="*/ 175656 h 754356"/>
              <a:gd name="connsiteX9" fmla="*/ 1128155 w 1888176"/>
              <a:gd name="connsiteY9" fmla="*/ 154379 h 754356"/>
              <a:gd name="connsiteX10" fmla="*/ 1258783 w 1888176"/>
              <a:gd name="connsiteY10" fmla="*/ 343231 h 754356"/>
              <a:gd name="connsiteX11" fmla="*/ 1392489 w 1888176"/>
              <a:gd name="connsiteY11" fmla="*/ 501843 h 754356"/>
              <a:gd name="connsiteX12" fmla="*/ 1484415 w 1888176"/>
              <a:gd name="connsiteY12" fmla="*/ 451262 h 754356"/>
              <a:gd name="connsiteX13" fmla="*/ 1579418 w 1888176"/>
              <a:gd name="connsiteY13" fmla="*/ 707844 h 754356"/>
              <a:gd name="connsiteX14" fmla="*/ 1650670 w 1888176"/>
              <a:gd name="connsiteY14" fmla="*/ 439387 h 754356"/>
              <a:gd name="connsiteX15" fmla="*/ 1759086 w 1888176"/>
              <a:gd name="connsiteY15" fmla="*/ 155532 h 754356"/>
              <a:gd name="connsiteX16" fmla="*/ 1828800 w 1888176"/>
              <a:gd name="connsiteY16" fmla="*/ 296883 h 754356"/>
              <a:gd name="connsiteX17" fmla="*/ 1888176 w 1888176"/>
              <a:gd name="connsiteY17" fmla="*/ 463137 h 754356"/>
              <a:gd name="connsiteX18" fmla="*/ 1888176 w 1888176"/>
              <a:gd name="connsiteY18" fmla="*/ 463137 h 754356"/>
              <a:gd name="connsiteX19" fmla="*/ 1888176 w 1888176"/>
              <a:gd name="connsiteY19" fmla="*/ 463137 h 754356"/>
              <a:gd name="connsiteX0" fmla="*/ 0 w 1888176"/>
              <a:gd name="connsiteY0" fmla="*/ 409973 h 962449"/>
              <a:gd name="connsiteX1" fmla="*/ 193083 w 1888176"/>
              <a:gd name="connsiteY1" fmla="*/ 527242 h 962449"/>
              <a:gd name="connsiteX2" fmla="*/ 326354 w 1888176"/>
              <a:gd name="connsiteY2" fmla="*/ 962449 h 962449"/>
              <a:gd name="connsiteX3" fmla="*/ 414098 w 1888176"/>
              <a:gd name="connsiteY3" fmla="*/ 0 h 962449"/>
              <a:gd name="connsiteX4" fmla="*/ 507561 w 1888176"/>
              <a:gd name="connsiteY4" fmla="*/ 421356 h 962449"/>
              <a:gd name="connsiteX5" fmla="*/ 629392 w 1888176"/>
              <a:gd name="connsiteY5" fmla="*/ 208093 h 962449"/>
              <a:gd name="connsiteX6" fmla="*/ 779155 w 1888176"/>
              <a:gd name="connsiteY6" fmla="*/ 662764 h 962449"/>
              <a:gd name="connsiteX7" fmla="*/ 902524 w 1888176"/>
              <a:gd name="connsiteY7" fmla="*/ 489857 h 962449"/>
              <a:gd name="connsiteX8" fmla="*/ 991807 w 1888176"/>
              <a:gd name="connsiteY8" fmla="*/ 383749 h 962449"/>
              <a:gd name="connsiteX9" fmla="*/ 1128155 w 1888176"/>
              <a:gd name="connsiteY9" fmla="*/ 362472 h 962449"/>
              <a:gd name="connsiteX10" fmla="*/ 1258783 w 1888176"/>
              <a:gd name="connsiteY10" fmla="*/ 551324 h 962449"/>
              <a:gd name="connsiteX11" fmla="*/ 1392489 w 1888176"/>
              <a:gd name="connsiteY11" fmla="*/ 709936 h 962449"/>
              <a:gd name="connsiteX12" fmla="*/ 1484415 w 1888176"/>
              <a:gd name="connsiteY12" fmla="*/ 659355 h 962449"/>
              <a:gd name="connsiteX13" fmla="*/ 1579418 w 1888176"/>
              <a:gd name="connsiteY13" fmla="*/ 915937 h 962449"/>
              <a:gd name="connsiteX14" fmla="*/ 1650670 w 1888176"/>
              <a:gd name="connsiteY14" fmla="*/ 647480 h 962449"/>
              <a:gd name="connsiteX15" fmla="*/ 1759086 w 1888176"/>
              <a:gd name="connsiteY15" fmla="*/ 363625 h 962449"/>
              <a:gd name="connsiteX16" fmla="*/ 1828800 w 1888176"/>
              <a:gd name="connsiteY16" fmla="*/ 504976 h 962449"/>
              <a:gd name="connsiteX17" fmla="*/ 1888176 w 1888176"/>
              <a:gd name="connsiteY17" fmla="*/ 671230 h 962449"/>
              <a:gd name="connsiteX18" fmla="*/ 1888176 w 1888176"/>
              <a:gd name="connsiteY18" fmla="*/ 671230 h 962449"/>
              <a:gd name="connsiteX19" fmla="*/ 1888176 w 1888176"/>
              <a:gd name="connsiteY19" fmla="*/ 671230 h 962449"/>
              <a:gd name="connsiteX0" fmla="*/ 0 w 1888176"/>
              <a:gd name="connsiteY0" fmla="*/ 409973 h 962449"/>
              <a:gd name="connsiteX1" fmla="*/ 193083 w 1888176"/>
              <a:gd name="connsiteY1" fmla="*/ 527242 h 962449"/>
              <a:gd name="connsiteX2" fmla="*/ 326354 w 1888176"/>
              <a:gd name="connsiteY2" fmla="*/ 962449 h 962449"/>
              <a:gd name="connsiteX3" fmla="*/ 414098 w 1888176"/>
              <a:gd name="connsiteY3" fmla="*/ 0 h 962449"/>
              <a:gd name="connsiteX4" fmla="*/ 507561 w 1888176"/>
              <a:gd name="connsiteY4" fmla="*/ 421356 h 962449"/>
              <a:gd name="connsiteX5" fmla="*/ 629393 w 1888176"/>
              <a:gd name="connsiteY5" fmla="*/ 24740 h 962449"/>
              <a:gd name="connsiteX6" fmla="*/ 779155 w 1888176"/>
              <a:gd name="connsiteY6" fmla="*/ 662764 h 962449"/>
              <a:gd name="connsiteX7" fmla="*/ 902524 w 1888176"/>
              <a:gd name="connsiteY7" fmla="*/ 489857 h 962449"/>
              <a:gd name="connsiteX8" fmla="*/ 991807 w 1888176"/>
              <a:gd name="connsiteY8" fmla="*/ 383749 h 962449"/>
              <a:gd name="connsiteX9" fmla="*/ 1128155 w 1888176"/>
              <a:gd name="connsiteY9" fmla="*/ 362472 h 962449"/>
              <a:gd name="connsiteX10" fmla="*/ 1258783 w 1888176"/>
              <a:gd name="connsiteY10" fmla="*/ 551324 h 962449"/>
              <a:gd name="connsiteX11" fmla="*/ 1392489 w 1888176"/>
              <a:gd name="connsiteY11" fmla="*/ 709936 h 962449"/>
              <a:gd name="connsiteX12" fmla="*/ 1484415 w 1888176"/>
              <a:gd name="connsiteY12" fmla="*/ 659355 h 962449"/>
              <a:gd name="connsiteX13" fmla="*/ 1579418 w 1888176"/>
              <a:gd name="connsiteY13" fmla="*/ 915937 h 962449"/>
              <a:gd name="connsiteX14" fmla="*/ 1650670 w 1888176"/>
              <a:gd name="connsiteY14" fmla="*/ 647480 h 962449"/>
              <a:gd name="connsiteX15" fmla="*/ 1759086 w 1888176"/>
              <a:gd name="connsiteY15" fmla="*/ 363625 h 962449"/>
              <a:gd name="connsiteX16" fmla="*/ 1828800 w 1888176"/>
              <a:gd name="connsiteY16" fmla="*/ 504976 h 962449"/>
              <a:gd name="connsiteX17" fmla="*/ 1888176 w 1888176"/>
              <a:gd name="connsiteY17" fmla="*/ 671230 h 962449"/>
              <a:gd name="connsiteX18" fmla="*/ 1888176 w 1888176"/>
              <a:gd name="connsiteY18" fmla="*/ 671230 h 962449"/>
              <a:gd name="connsiteX19" fmla="*/ 1888176 w 1888176"/>
              <a:gd name="connsiteY19" fmla="*/ 671230 h 962449"/>
              <a:gd name="connsiteX0" fmla="*/ 0 w 1888176"/>
              <a:gd name="connsiteY0" fmla="*/ 409973 h 1236736"/>
              <a:gd name="connsiteX1" fmla="*/ 193083 w 1888176"/>
              <a:gd name="connsiteY1" fmla="*/ 527242 h 1236736"/>
              <a:gd name="connsiteX2" fmla="*/ 326354 w 1888176"/>
              <a:gd name="connsiteY2" fmla="*/ 962449 h 1236736"/>
              <a:gd name="connsiteX3" fmla="*/ 414098 w 1888176"/>
              <a:gd name="connsiteY3" fmla="*/ 0 h 1236736"/>
              <a:gd name="connsiteX4" fmla="*/ 507561 w 1888176"/>
              <a:gd name="connsiteY4" fmla="*/ 421356 h 1236736"/>
              <a:gd name="connsiteX5" fmla="*/ 629393 w 1888176"/>
              <a:gd name="connsiteY5" fmla="*/ 24740 h 1236736"/>
              <a:gd name="connsiteX6" fmla="*/ 872188 w 1888176"/>
              <a:gd name="connsiteY6" fmla="*/ 1236736 h 1236736"/>
              <a:gd name="connsiteX7" fmla="*/ 902524 w 1888176"/>
              <a:gd name="connsiteY7" fmla="*/ 489857 h 1236736"/>
              <a:gd name="connsiteX8" fmla="*/ 991807 w 1888176"/>
              <a:gd name="connsiteY8" fmla="*/ 383749 h 1236736"/>
              <a:gd name="connsiteX9" fmla="*/ 1128155 w 1888176"/>
              <a:gd name="connsiteY9" fmla="*/ 362472 h 1236736"/>
              <a:gd name="connsiteX10" fmla="*/ 1258783 w 1888176"/>
              <a:gd name="connsiteY10" fmla="*/ 551324 h 1236736"/>
              <a:gd name="connsiteX11" fmla="*/ 1392489 w 1888176"/>
              <a:gd name="connsiteY11" fmla="*/ 709936 h 1236736"/>
              <a:gd name="connsiteX12" fmla="*/ 1484415 w 1888176"/>
              <a:gd name="connsiteY12" fmla="*/ 659355 h 1236736"/>
              <a:gd name="connsiteX13" fmla="*/ 1579418 w 1888176"/>
              <a:gd name="connsiteY13" fmla="*/ 915937 h 1236736"/>
              <a:gd name="connsiteX14" fmla="*/ 1650670 w 1888176"/>
              <a:gd name="connsiteY14" fmla="*/ 647480 h 1236736"/>
              <a:gd name="connsiteX15" fmla="*/ 1759086 w 1888176"/>
              <a:gd name="connsiteY15" fmla="*/ 363625 h 1236736"/>
              <a:gd name="connsiteX16" fmla="*/ 1828800 w 1888176"/>
              <a:gd name="connsiteY16" fmla="*/ 504976 h 1236736"/>
              <a:gd name="connsiteX17" fmla="*/ 1888176 w 1888176"/>
              <a:gd name="connsiteY17" fmla="*/ 671230 h 1236736"/>
              <a:gd name="connsiteX18" fmla="*/ 1888176 w 1888176"/>
              <a:gd name="connsiteY18" fmla="*/ 671230 h 1236736"/>
              <a:gd name="connsiteX19" fmla="*/ 1888176 w 1888176"/>
              <a:gd name="connsiteY19" fmla="*/ 671230 h 1236736"/>
              <a:gd name="connsiteX0" fmla="*/ 0 w 1888176"/>
              <a:gd name="connsiteY0" fmla="*/ 409973 h 1236736"/>
              <a:gd name="connsiteX1" fmla="*/ 193083 w 1888176"/>
              <a:gd name="connsiteY1" fmla="*/ 527242 h 1236736"/>
              <a:gd name="connsiteX2" fmla="*/ 326354 w 1888176"/>
              <a:gd name="connsiteY2" fmla="*/ 962449 h 1236736"/>
              <a:gd name="connsiteX3" fmla="*/ 414098 w 1888176"/>
              <a:gd name="connsiteY3" fmla="*/ 0 h 1236736"/>
              <a:gd name="connsiteX4" fmla="*/ 507561 w 1888176"/>
              <a:gd name="connsiteY4" fmla="*/ 421356 h 1236736"/>
              <a:gd name="connsiteX5" fmla="*/ 629393 w 1888176"/>
              <a:gd name="connsiteY5" fmla="*/ 24740 h 1236736"/>
              <a:gd name="connsiteX6" fmla="*/ 872188 w 1888176"/>
              <a:gd name="connsiteY6" fmla="*/ 1236736 h 1236736"/>
              <a:gd name="connsiteX7" fmla="*/ 902524 w 1888176"/>
              <a:gd name="connsiteY7" fmla="*/ 489857 h 1236736"/>
              <a:gd name="connsiteX8" fmla="*/ 1033154 w 1888176"/>
              <a:gd name="connsiteY8" fmla="*/ 72847 h 1236736"/>
              <a:gd name="connsiteX9" fmla="*/ 1128155 w 1888176"/>
              <a:gd name="connsiteY9" fmla="*/ 362472 h 1236736"/>
              <a:gd name="connsiteX10" fmla="*/ 1258783 w 1888176"/>
              <a:gd name="connsiteY10" fmla="*/ 551324 h 1236736"/>
              <a:gd name="connsiteX11" fmla="*/ 1392489 w 1888176"/>
              <a:gd name="connsiteY11" fmla="*/ 709936 h 1236736"/>
              <a:gd name="connsiteX12" fmla="*/ 1484415 w 1888176"/>
              <a:gd name="connsiteY12" fmla="*/ 659355 h 1236736"/>
              <a:gd name="connsiteX13" fmla="*/ 1579418 w 1888176"/>
              <a:gd name="connsiteY13" fmla="*/ 915937 h 1236736"/>
              <a:gd name="connsiteX14" fmla="*/ 1650670 w 1888176"/>
              <a:gd name="connsiteY14" fmla="*/ 647480 h 1236736"/>
              <a:gd name="connsiteX15" fmla="*/ 1759086 w 1888176"/>
              <a:gd name="connsiteY15" fmla="*/ 363625 h 1236736"/>
              <a:gd name="connsiteX16" fmla="*/ 1828800 w 1888176"/>
              <a:gd name="connsiteY16" fmla="*/ 504976 h 1236736"/>
              <a:gd name="connsiteX17" fmla="*/ 1888176 w 1888176"/>
              <a:gd name="connsiteY17" fmla="*/ 671230 h 1236736"/>
              <a:gd name="connsiteX18" fmla="*/ 1888176 w 1888176"/>
              <a:gd name="connsiteY18" fmla="*/ 671230 h 1236736"/>
              <a:gd name="connsiteX19" fmla="*/ 1888176 w 1888176"/>
              <a:gd name="connsiteY19" fmla="*/ 671230 h 1236736"/>
              <a:gd name="connsiteX0" fmla="*/ 0 w 1888176"/>
              <a:gd name="connsiteY0" fmla="*/ 409973 h 1236736"/>
              <a:gd name="connsiteX1" fmla="*/ 193083 w 1888176"/>
              <a:gd name="connsiteY1" fmla="*/ 527242 h 1236736"/>
              <a:gd name="connsiteX2" fmla="*/ 326354 w 1888176"/>
              <a:gd name="connsiteY2" fmla="*/ 962449 h 1236736"/>
              <a:gd name="connsiteX3" fmla="*/ 414098 w 1888176"/>
              <a:gd name="connsiteY3" fmla="*/ 0 h 1236736"/>
              <a:gd name="connsiteX4" fmla="*/ 507561 w 1888176"/>
              <a:gd name="connsiteY4" fmla="*/ 421356 h 1236736"/>
              <a:gd name="connsiteX5" fmla="*/ 629393 w 1888176"/>
              <a:gd name="connsiteY5" fmla="*/ 24740 h 1236736"/>
              <a:gd name="connsiteX6" fmla="*/ 872188 w 1888176"/>
              <a:gd name="connsiteY6" fmla="*/ 1236736 h 1236736"/>
              <a:gd name="connsiteX7" fmla="*/ 902524 w 1888176"/>
              <a:gd name="connsiteY7" fmla="*/ 489857 h 1236736"/>
              <a:gd name="connsiteX8" fmla="*/ 1033154 w 1888176"/>
              <a:gd name="connsiteY8" fmla="*/ 72847 h 1236736"/>
              <a:gd name="connsiteX9" fmla="*/ 1128155 w 1888176"/>
              <a:gd name="connsiteY9" fmla="*/ 362472 h 1236736"/>
              <a:gd name="connsiteX10" fmla="*/ 1279456 w 1888176"/>
              <a:gd name="connsiteY10" fmla="*/ 870197 h 1236736"/>
              <a:gd name="connsiteX11" fmla="*/ 1392489 w 1888176"/>
              <a:gd name="connsiteY11" fmla="*/ 709936 h 1236736"/>
              <a:gd name="connsiteX12" fmla="*/ 1484415 w 1888176"/>
              <a:gd name="connsiteY12" fmla="*/ 659355 h 1236736"/>
              <a:gd name="connsiteX13" fmla="*/ 1579418 w 1888176"/>
              <a:gd name="connsiteY13" fmla="*/ 915937 h 1236736"/>
              <a:gd name="connsiteX14" fmla="*/ 1650670 w 1888176"/>
              <a:gd name="connsiteY14" fmla="*/ 647480 h 1236736"/>
              <a:gd name="connsiteX15" fmla="*/ 1759086 w 1888176"/>
              <a:gd name="connsiteY15" fmla="*/ 363625 h 1236736"/>
              <a:gd name="connsiteX16" fmla="*/ 1828800 w 1888176"/>
              <a:gd name="connsiteY16" fmla="*/ 504976 h 1236736"/>
              <a:gd name="connsiteX17" fmla="*/ 1888176 w 1888176"/>
              <a:gd name="connsiteY17" fmla="*/ 671230 h 1236736"/>
              <a:gd name="connsiteX18" fmla="*/ 1888176 w 1888176"/>
              <a:gd name="connsiteY18" fmla="*/ 671230 h 1236736"/>
              <a:gd name="connsiteX19" fmla="*/ 1888176 w 1888176"/>
              <a:gd name="connsiteY19" fmla="*/ 671230 h 1236736"/>
              <a:gd name="connsiteX0" fmla="*/ 0 w 1888176"/>
              <a:gd name="connsiteY0" fmla="*/ 409973 h 1236736"/>
              <a:gd name="connsiteX1" fmla="*/ 193083 w 1888176"/>
              <a:gd name="connsiteY1" fmla="*/ 527242 h 1236736"/>
              <a:gd name="connsiteX2" fmla="*/ 326354 w 1888176"/>
              <a:gd name="connsiteY2" fmla="*/ 962449 h 1236736"/>
              <a:gd name="connsiteX3" fmla="*/ 414098 w 1888176"/>
              <a:gd name="connsiteY3" fmla="*/ 0 h 1236736"/>
              <a:gd name="connsiteX4" fmla="*/ 507561 w 1888176"/>
              <a:gd name="connsiteY4" fmla="*/ 421356 h 1236736"/>
              <a:gd name="connsiteX5" fmla="*/ 629393 w 1888176"/>
              <a:gd name="connsiteY5" fmla="*/ 24740 h 1236736"/>
              <a:gd name="connsiteX6" fmla="*/ 872188 w 1888176"/>
              <a:gd name="connsiteY6" fmla="*/ 1236736 h 1236736"/>
              <a:gd name="connsiteX7" fmla="*/ 902524 w 1888176"/>
              <a:gd name="connsiteY7" fmla="*/ 489857 h 1236736"/>
              <a:gd name="connsiteX8" fmla="*/ 1033154 w 1888176"/>
              <a:gd name="connsiteY8" fmla="*/ 72847 h 1236736"/>
              <a:gd name="connsiteX9" fmla="*/ 1128155 w 1888176"/>
              <a:gd name="connsiteY9" fmla="*/ 362472 h 1236736"/>
              <a:gd name="connsiteX10" fmla="*/ 1279456 w 1888176"/>
              <a:gd name="connsiteY10" fmla="*/ 870197 h 1236736"/>
              <a:gd name="connsiteX11" fmla="*/ 1392489 w 1888176"/>
              <a:gd name="connsiteY11" fmla="*/ 709936 h 1236736"/>
              <a:gd name="connsiteX12" fmla="*/ 1484415 w 1888176"/>
              <a:gd name="connsiteY12" fmla="*/ 181045 h 1236736"/>
              <a:gd name="connsiteX13" fmla="*/ 1579418 w 1888176"/>
              <a:gd name="connsiteY13" fmla="*/ 915937 h 1236736"/>
              <a:gd name="connsiteX14" fmla="*/ 1650670 w 1888176"/>
              <a:gd name="connsiteY14" fmla="*/ 647480 h 1236736"/>
              <a:gd name="connsiteX15" fmla="*/ 1759086 w 1888176"/>
              <a:gd name="connsiteY15" fmla="*/ 363625 h 1236736"/>
              <a:gd name="connsiteX16" fmla="*/ 1828800 w 1888176"/>
              <a:gd name="connsiteY16" fmla="*/ 504976 h 1236736"/>
              <a:gd name="connsiteX17" fmla="*/ 1888176 w 1888176"/>
              <a:gd name="connsiteY17" fmla="*/ 671230 h 1236736"/>
              <a:gd name="connsiteX18" fmla="*/ 1888176 w 1888176"/>
              <a:gd name="connsiteY18" fmla="*/ 671230 h 1236736"/>
              <a:gd name="connsiteX19" fmla="*/ 1888176 w 1888176"/>
              <a:gd name="connsiteY19" fmla="*/ 671230 h 1236736"/>
              <a:gd name="connsiteX0" fmla="*/ 0 w 1888176"/>
              <a:gd name="connsiteY0" fmla="*/ 409973 h 1296331"/>
              <a:gd name="connsiteX1" fmla="*/ 193083 w 1888176"/>
              <a:gd name="connsiteY1" fmla="*/ 527242 h 1296331"/>
              <a:gd name="connsiteX2" fmla="*/ 326354 w 1888176"/>
              <a:gd name="connsiteY2" fmla="*/ 962449 h 1296331"/>
              <a:gd name="connsiteX3" fmla="*/ 414098 w 1888176"/>
              <a:gd name="connsiteY3" fmla="*/ 0 h 1296331"/>
              <a:gd name="connsiteX4" fmla="*/ 507561 w 1888176"/>
              <a:gd name="connsiteY4" fmla="*/ 421356 h 1296331"/>
              <a:gd name="connsiteX5" fmla="*/ 629393 w 1888176"/>
              <a:gd name="connsiteY5" fmla="*/ 24740 h 1296331"/>
              <a:gd name="connsiteX6" fmla="*/ 872188 w 1888176"/>
              <a:gd name="connsiteY6" fmla="*/ 1236736 h 1296331"/>
              <a:gd name="connsiteX7" fmla="*/ 902524 w 1888176"/>
              <a:gd name="connsiteY7" fmla="*/ 489857 h 1296331"/>
              <a:gd name="connsiteX8" fmla="*/ 1033154 w 1888176"/>
              <a:gd name="connsiteY8" fmla="*/ 72847 h 1296331"/>
              <a:gd name="connsiteX9" fmla="*/ 1128155 w 1888176"/>
              <a:gd name="connsiteY9" fmla="*/ 362472 h 1296331"/>
              <a:gd name="connsiteX10" fmla="*/ 1279456 w 1888176"/>
              <a:gd name="connsiteY10" fmla="*/ 870197 h 1296331"/>
              <a:gd name="connsiteX11" fmla="*/ 1392489 w 1888176"/>
              <a:gd name="connsiteY11" fmla="*/ 709936 h 1296331"/>
              <a:gd name="connsiteX12" fmla="*/ 1484415 w 1888176"/>
              <a:gd name="connsiteY12" fmla="*/ 181045 h 1296331"/>
              <a:gd name="connsiteX13" fmla="*/ 1579418 w 1888176"/>
              <a:gd name="connsiteY13" fmla="*/ 915937 h 1296331"/>
              <a:gd name="connsiteX14" fmla="*/ 1650670 w 1888176"/>
              <a:gd name="connsiteY14" fmla="*/ 647480 h 1296331"/>
              <a:gd name="connsiteX15" fmla="*/ 1810770 w 1888176"/>
              <a:gd name="connsiteY15" fmla="*/ 1296331 h 1296331"/>
              <a:gd name="connsiteX16" fmla="*/ 1828800 w 1888176"/>
              <a:gd name="connsiteY16" fmla="*/ 504976 h 1296331"/>
              <a:gd name="connsiteX17" fmla="*/ 1888176 w 1888176"/>
              <a:gd name="connsiteY17" fmla="*/ 671230 h 1296331"/>
              <a:gd name="connsiteX18" fmla="*/ 1888176 w 1888176"/>
              <a:gd name="connsiteY18" fmla="*/ 671230 h 1296331"/>
              <a:gd name="connsiteX19" fmla="*/ 1888176 w 1888176"/>
              <a:gd name="connsiteY19" fmla="*/ 671230 h 1296331"/>
              <a:gd name="connsiteX0" fmla="*/ 0 w 1890822"/>
              <a:gd name="connsiteY0" fmla="*/ 409973 h 1296331"/>
              <a:gd name="connsiteX1" fmla="*/ 193083 w 1890822"/>
              <a:gd name="connsiteY1" fmla="*/ 527242 h 1296331"/>
              <a:gd name="connsiteX2" fmla="*/ 326354 w 1890822"/>
              <a:gd name="connsiteY2" fmla="*/ 962449 h 1296331"/>
              <a:gd name="connsiteX3" fmla="*/ 414098 w 1890822"/>
              <a:gd name="connsiteY3" fmla="*/ 0 h 1296331"/>
              <a:gd name="connsiteX4" fmla="*/ 507561 w 1890822"/>
              <a:gd name="connsiteY4" fmla="*/ 421356 h 1296331"/>
              <a:gd name="connsiteX5" fmla="*/ 629393 w 1890822"/>
              <a:gd name="connsiteY5" fmla="*/ 24740 h 1296331"/>
              <a:gd name="connsiteX6" fmla="*/ 872188 w 1890822"/>
              <a:gd name="connsiteY6" fmla="*/ 1236736 h 1296331"/>
              <a:gd name="connsiteX7" fmla="*/ 902524 w 1890822"/>
              <a:gd name="connsiteY7" fmla="*/ 489857 h 1296331"/>
              <a:gd name="connsiteX8" fmla="*/ 1033154 w 1890822"/>
              <a:gd name="connsiteY8" fmla="*/ 72847 h 1296331"/>
              <a:gd name="connsiteX9" fmla="*/ 1128155 w 1890822"/>
              <a:gd name="connsiteY9" fmla="*/ 362472 h 1296331"/>
              <a:gd name="connsiteX10" fmla="*/ 1279456 w 1890822"/>
              <a:gd name="connsiteY10" fmla="*/ 870197 h 1296331"/>
              <a:gd name="connsiteX11" fmla="*/ 1392489 w 1890822"/>
              <a:gd name="connsiteY11" fmla="*/ 709936 h 1296331"/>
              <a:gd name="connsiteX12" fmla="*/ 1484415 w 1890822"/>
              <a:gd name="connsiteY12" fmla="*/ 181045 h 1296331"/>
              <a:gd name="connsiteX13" fmla="*/ 1579418 w 1890822"/>
              <a:gd name="connsiteY13" fmla="*/ 915937 h 1296331"/>
              <a:gd name="connsiteX14" fmla="*/ 1650670 w 1890822"/>
              <a:gd name="connsiteY14" fmla="*/ 647480 h 1296331"/>
              <a:gd name="connsiteX15" fmla="*/ 1810770 w 1890822"/>
              <a:gd name="connsiteY15" fmla="*/ 1296331 h 1296331"/>
              <a:gd name="connsiteX16" fmla="*/ 1890822 w 1890822"/>
              <a:gd name="connsiteY16" fmla="*/ 2750 h 1296331"/>
              <a:gd name="connsiteX17" fmla="*/ 1888176 w 1890822"/>
              <a:gd name="connsiteY17" fmla="*/ 671230 h 1296331"/>
              <a:gd name="connsiteX18" fmla="*/ 1888176 w 1890822"/>
              <a:gd name="connsiteY18" fmla="*/ 671230 h 1296331"/>
              <a:gd name="connsiteX19" fmla="*/ 1888176 w 1890822"/>
              <a:gd name="connsiteY19" fmla="*/ 671230 h 1296331"/>
              <a:gd name="connsiteX0" fmla="*/ 0 w 1970872"/>
              <a:gd name="connsiteY0" fmla="*/ 409973 h 1296331"/>
              <a:gd name="connsiteX1" fmla="*/ 193083 w 1970872"/>
              <a:gd name="connsiteY1" fmla="*/ 527242 h 1296331"/>
              <a:gd name="connsiteX2" fmla="*/ 326354 w 1970872"/>
              <a:gd name="connsiteY2" fmla="*/ 962449 h 1296331"/>
              <a:gd name="connsiteX3" fmla="*/ 414098 w 1970872"/>
              <a:gd name="connsiteY3" fmla="*/ 0 h 1296331"/>
              <a:gd name="connsiteX4" fmla="*/ 507561 w 1970872"/>
              <a:gd name="connsiteY4" fmla="*/ 421356 h 1296331"/>
              <a:gd name="connsiteX5" fmla="*/ 629393 w 1970872"/>
              <a:gd name="connsiteY5" fmla="*/ 24740 h 1296331"/>
              <a:gd name="connsiteX6" fmla="*/ 872188 w 1970872"/>
              <a:gd name="connsiteY6" fmla="*/ 1236736 h 1296331"/>
              <a:gd name="connsiteX7" fmla="*/ 902524 w 1970872"/>
              <a:gd name="connsiteY7" fmla="*/ 489857 h 1296331"/>
              <a:gd name="connsiteX8" fmla="*/ 1033154 w 1970872"/>
              <a:gd name="connsiteY8" fmla="*/ 72847 h 1296331"/>
              <a:gd name="connsiteX9" fmla="*/ 1128155 w 1970872"/>
              <a:gd name="connsiteY9" fmla="*/ 362472 h 1296331"/>
              <a:gd name="connsiteX10" fmla="*/ 1279456 w 1970872"/>
              <a:gd name="connsiteY10" fmla="*/ 870197 h 1296331"/>
              <a:gd name="connsiteX11" fmla="*/ 1392489 w 1970872"/>
              <a:gd name="connsiteY11" fmla="*/ 709936 h 1296331"/>
              <a:gd name="connsiteX12" fmla="*/ 1484415 w 1970872"/>
              <a:gd name="connsiteY12" fmla="*/ 181045 h 1296331"/>
              <a:gd name="connsiteX13" fmla="*/ 1579418 w 1970872"/>
              <a:gd name="connsiteY13" fmla="*/ 915937 h 1296331"/>
              <a:gd name="connsiteX14" fmla="*/ 1650670 w 1970872"/>
              <a:gd name="connsiteY14" fmla="*/ 647480 h 1296331"/>
              <a:gd name="connsiteX15" fmla="*/ 1810770 w 1970872"/>
              <a:gd name="connsiteY15" fmla="*/ 1296331 h 1296331"/>
              <a:gd name="connsiteX16" fmla="*/ 1890822 w 1970872"/>
              <a:gd name="connsiteY16" fmla="*/ 2750 h 1296331"/>
              <a:gd name="connsiteX17" fmla="*/ 1888176 w 1970872"/>
              <a:gd name="connsiteY17" fmla="*/ 671230 h 1296331"/>
              <a:gd name="connsiteX18" fmla="*/ 1888176 w 1970872"/>
              <a:gd name="connsiteY18" fmla="*/ 671230 h 1296331"/>
              <a:gd name="connsiteX19" fmla="*/ 1970872 w 1970872"/>
              <a:gd name="connsiteY19" fmla="*/ 1037934 h 1296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970872" h="1296331">
                <a:moveTo>
                  <a:pt x="0" y="409973"/>
                </a:moveTo>
                <a:lnTo>
                  <a:pt x="193083" y="527242"/>
                </a:lnTo>
                <a:lnTo>
                  <a:pt x="326354" y="962449"/>
                </a:lnTo>
                <a:lnTo>
                  <a:pt x="414098" y="0"/>
                </a:lnTo>
                <a:lnTo>
                  <a:pt x="507561" y="421356"/>
                </a:lnTo>
                <a:lnTo>
                  <a:pt x="629393" y="24740"/>
                </a:lnTo>
                <a:lnTo>
                  <a:pt x="872188" y="1236736"/>
                </a:lnTo>
                <a:lnTo>
                  <a:pt x="902524" y="489857"/>
                </a:lnTo>
                <a:lnTo>
                  <a:pt x="1033154" y="72847"/>
                </a:lnTo>
                <a:lnTo>
                  <a:pt x="1128155" y="362472"/>
                </a:lnTo>
                <a:lnTo>
                  <a:pt x="1279456" y="870197"/>
                </a:lnTo>
                <a:lnTo>
                  <a:pt x="1392489" y="709936"/>
                </a:lnTo>
                <a:lnTo>
                  <a:pt x="1484415" y="181045"/>
                </a:lnTo>
                <a:lnTo>
                  <a:pt x="1579418" y="915937"/>
                </a:lnTo>
                <a:lnTo>
                  <a:pt x="1650670" y="647480"/>
                </a:lnTo>
                <a:lnTo>
                  <a:pt x="1810770" y="1296331"/>
                </a:lnTo>
                <a:lnTo>
                  <a:pt x="1890822" y="2750"/>
                </a:lnTo>
                <a:lnTo>
                  <a:pt x="1888176" y="671230"/>
                </a:lnTo>
                <a:lnTo>
                  <a:pt x="1888176" y="671230"/>
                </a:lnTo>
                <a:lnTo>
                  <a:pt x="1970872" y="1037934"/>
                </a:lnTo>
              </a:path>
            </a:pathLst>
          </a:cu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3070C66-1799-4846-91C0-6DD6B518F9EF}"/>
              </a:ext>
            </a:extLst>
          </p:cNvPr>
          <p:cNvSpPr txBox="1"/>
          <p:nvPr/>
        </p:nvSpPr>
        <p:spPr>
          <a:xfrm>
            <a:off x="1499531" y="4930093"/>
            <a:ext cx="8516203" cy="120032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f all the inputs are varying, how can you get predictable output?</a:t>
            </a:r>
          </a:p>
          <a:p>
            <a:endParaRPr lang="en-GB" dirty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To improve our performance, leading to better cost, quality, service and safety, we have to control the 4M’s. 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497AB65-D9A1-4DC9-82BC-77CDE6FD5E5E}"/>
              </a:ext>
            </a:extLst>
          </p:cNvPr>
          <p:cNvSpPr txBox="1">
            <a:spLocks/>
          </p:cNvSpPr>
          <p:nvPr/>
        </p:nvSpPr>
        <p:spPr>
          <a:xfrm>
            <a:off x="1844040" y="212184"/>
            <a:ext cx="8503920" cy="531278"/>
          </a:xfrm>
        </p:spPr>
        <p:txBody>
          <a:bodyPr>
            <a:normAutofit fontScale="975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00" cap="all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3600" dirty="0"/>
              <a:t>The 4M’s Explained (II)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D5EC3A9-FB78-4CA4-A371-3FBE12EADA4A}"/>
              </a:ext>
            </a:extLst>
          </p:cNvPr>
          <p:cNvSpPr/>
          <p:nvPr/>
        </p:nvSpPr>
        <p:spPr>
          <a:xfrm>
            <a:off x="9377225" y="148705"/>
            <a:ext cx="2618004" cy="5414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0" name="Picture 29" descr="A picture containing drawing&#10;&#10;Description automatically generated">
            <a:extLst>
              <a:ext uri="{FF2B5EF4-FFF2-40B4-BE49-F238E27FC236}">
                <a16:creationId xmlns:a16="http://schemas.microsoft.com/office/drawing/2014/main" id="{59AA1F00-3104-4E15-B234-774C3B6501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53" b="94787" l="2560" r="99744">
                        <a14:foregroundMark x1="4863" y1="42654" x2="4863" y2="42654"/>
                        <a14:foregroundMark x1="4949" y1="69194" x2="4949" y2="69194"/>
                        <a14:foregroundMark x1="2560" y1="68246" x2="2560" y2="68246"/>
                        <a14:foregroundMark x1="4949" y1="86256" x2="4949" y2="86256"/>
                        <a14:foregroundMark x1="19881" y1="51659" x2="19881" y2="51659"/>
                        <a14:foregroundMark x1="23294" y1="30332" x2="23294" y2="30332"/>
                        <a14:foregroundMark x1="43430" y1="37441" x2="43430" y2="37441"/>
                        <a14:foregroundMark x1="48038" y1="93839" x2="48038" y2="93839"/>
                        <a14:foregroundMark x1="44113" y1="94787" x2="44113" y2="94787"/>
                        <a14:foregroundMark x1="59471" y1="50237" x2="59471" y2="50237"/>
                        <a14:foregroundMark x1="78242" y1="57346" x2="78242" y2="57346"/>
                        <a14:foregroundMark x1="89846" y1="90995" x2="89846" y2="90995"/>
                        <a14:foregroundMark x1="89676" y1="70142" x2="89676" y2="70142"/>
                        <a14:foregroundMark x1="99744" y1="67773" x2="99744" y2="67773"/>
                        <a14:foregroundMark x1="58703" y1="14218" x2="58703" y2="14218"/>
                        <a14:foregroundMark x1="58788" y1="74882" x2="58788" y2="74882"/>
                        <a14:backgroundMark x1="15444" y1="94313" x2="15444" y2="94313"/>
                        <a14:backgroundMark x1="16382" y1="49763" x2="16382" y2="49763"/>
                        <a14:backgroundMark x1="17406" y1="31754" x2="17406" y2="31754"/>
                        <a14:backgroundMark x1="29693" y1="44076" x2="29693" y2="44076"/>
                        <a14:backgroundMark x1="41724" y1="36967" x2="41724" y2="36967"/>
                        <a14:backgroundMark x1="52986" y1="51185" x2="52986" y2="51185"/>
                        <a14:backgroundMark x1="68259" y1="45972" x2="68259" y2="45972"/>
                        <a14:backgroundMark x1="82850" y1="44076" x2="82850" y2="44076"/>
                        <a14:backgroundMark x1="93515" y1="26066" x2="93515" y2="26066"/>
                        <a14:backgroundMark x1="8618" y1="51185" x2="8618" y2="51185"/>
                        <a14:backgroundMark x1="1195" y1="24171" x2="1195" y2="24171"/>
                        <a14:backgroundMark x1="1792" y1="78199" x2="1792" y2="78199"/>
                        <a14:backgroundMark x1="17065" y1="78199" x2="17065" y2="781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5403" y="191131"/>
            <a:ext cx="2463137" cy="44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9194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7C1C8291-A7AB-415F-8BAE-611C8C561C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3471" y="160607"/>
            <a:ext cx="7731125" cy="371247"/>
          </a:xfrm>
        </p:spPr>
        <p:txBody>
          <a:bodyPr>
            <a:noAutofit/>
          </a:bodyPr>
          <a:lstStyle/>
          <a:p>
            <a:r>
              <a:rPr lang="en-GB" sz="3500" dirty="0"/>
              <a:t>The 4M’S explained (III)</a:t>
            </a:r>
            <a:endParaRPr lang="en-US" sz="35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0E72050-8D7D-486D-BD2C-E02DB56ABA9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3670" y="1223378"/>
            <a:ext cx="1179801" cy="498562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93296" tIns="46648" rIns="93296" bIns="46648" anchor="ctr">
            <a:noAutofit/>
          </a:bodyPr>
          <a:lstStyle/>
          <a:p>
            <a:endParaRPr lang="en-GB" sz="1200" b="1"/>
          </a:p>
        </p:txBody>
      </p:sp>
      <p:sp>
        <p:nvSpPr>
          <p:cNvPr id="32" name="TextBox 5">
            <a:extLst>
              <a:ext uri="{FF2B5EF4-FFF2-40B4-BE49-F238E27FC236}">
                <a16:creationId xmlns:a16="http://schemas.microsoft.com/office/drawing/2014/main" id="{C6D3ACB2-2C6E-463E-AF34-17304DF78E96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855372" y="1381403"/>
            <a:ext cx="1179801" cy="86333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7" tIns="77747" rIns="77747" bIns="7774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b="1">
                <a:solidFill>
                  <a:schemeClr val="bg1"/>
                </a:solidFill>
              </a:rPr>
              <a:t>Man</a:t>
            </a:r>
          </a:p>
        </p:txBody>
      </p:sp>
      <p:sp>
        <p:nvSpPr>
          <p:cNvPr id="33" name="TextBox 5">
            <a:extLst>
              <a:ext uri="{FF2B5EF4-FFF2-40B4-BE49-F238E27FC236}">
                <a16:creationId xmlns:a16="http://schemas.microsoft.com/office/drawing/2014/main" id="{D368E196-C67E-47C9-A403-062D77ED0D4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55372" y="5099895"/>
            <a:ext cx="1179801" cy="86333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7" tIns="77747" rIns="77747" bIns="7774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b="1" dirty="0">
                <a:solidFill>
                  <a:schemeClr val="bg1"/>
                </a:solidFill>
              </a:rPr>
              <a:t>Machine</a:t>
            </a:r>
          </a:p>
        </p:txBody>
      </p:sp>
      <p:sp>
        <p:nvSpPr>
          <p:cNvPr id="34" name="TextBox 5">
            <a:extLst>
              <a:ext uri="{FF2B5EF4-FFF2-40B4-BE49-F238E27FC236}">
                <a16:creationId xmlns:a16="http://schemas.microsoft.com/office/drawing/2014/main" id="{69C8776A-407E-4C4F-8854-DCF6B1769BD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855372" y="3746990"/>
            <a:ext cx="1179801" cy="86333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7" tIns="77747" rIns="77747" bIns="7774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b="1" dirty="0">
                <a:solidFill>
                  <a:schemeClr val="bg1"/>
                </a:solidFill>
              </a:rPr>
              <a:t>Material</a:t>
            </a:r>
          </a:p>
        </p:txBody>
      </p:sp>
      <p:sp>
        <p:nvSpPr>
          <p:cNvPr id="35" name="TextBox 5">
            <a:extLst>
              <a:ext uri="{FF2B5EF4-FFF2-40B4-BE49-F238E27FC236}">
                <a16:creationId xmlns:a16="http://schemas.microsoft.com/office/drawing/2014/main" id="{EDD36D3B-4508-40FE-BB9E-2AC77B2A08D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855372" y="2500442"/>
            <a:ext cx="1179801" cy="86333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7" tIns="77747" rIns="77747" bIns="7774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b="1" dirty="0">
                <a:solidFill>
                  <a:schemeClr val="bg1"/>
                </a:solidFill>
              </a:rPr>
              <a:t>Management method</a:t>
            </a:r>
          </a:p>
        </p:txBody>
      </p:sp>
      <p:sp>
        <p:nvSpPr>
          <p:cNvPr id="36" name="AutoShape 250">
            <a:extLst>
              <a:ext uri="{FF2B5EF4-FFF2-40B4-BE49-F238E27FC236}">
                <a16:creationId xmlns:a16="http://schemas.microsoft.com/office/drawing/2014/main" id="{05F21C62-656D-4439-920D-3CEF229E158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30020" y="933239"/>
            <a:ext cx="2406367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200" b="1" dirty="0">
                <a:solidFill>
                  <a:schemeClr val="bg1">
                    <a:lumMod val="95000"/>
                  </a:schemeClr>
                </a:solidFill>
              </a:rPr>
              <a:t>Principles</a:t>
            </a:r>
            <a:endParaRPr lang="en-GB" sz="12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7" name="AutoShape 250">
            <a:extLst>
              <a:ext uri="{FF2B5EF4-FFF2-40B4-BE49-F238E27FC236}">
                <a16:creationId xmlns:a16="http://schemas.microsoft.com/office/drawing/2014/main" id="{10E70B7D-7465-429C-B973-488C8EFCBED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92339" y="937912"/>
            <a:ext cx="5555640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200" b="1" dirty="0">
                <a:solidFill>
                  <a:schemeClr val="bg1">
                    <a:lumMod val="95000"/>
                  </a:schemeClr>
                </a:solidFill>
              </a:rPr>
              <a:t>Key questions</a:t>
            </a:r>
            <a:endParaRPr lang="en-GB" sz="12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DB96083-39D7-4049-B064-AEBBA36B91C7}"/>
              </a:ext>
            </a:extLst>
          </p:cNvPr>
          <p:cNvSpPr txBox="1">
            <a:spLocks/>
          </p:cNvSpPr>
          <p:nvPr/>
        </p:nvSpPr>
        <p:spPr bwMode="gray">
          <a:xfrm>
            <a:off x="2514273" y="1352197"/>
            <a:ext cx="240636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Work balanced to run rate</a:t>
            </a:r>
          </a:p>
        </p:txBody>
      </p:sp>
      <p:sp>
        <p:nvSpPr>
          <p:cNvPr id="39" name="Rectangle 45">
            <a:extLst>
              <a:ext uri="{FF2B5EF4-FFF2-40B4-BE49-F238E27FC236}">
                <a16:creationId xmlns:a16="http://schemas.microsoft.com/office/drawing/2014/main" id="{B64DAFB3-44E7-4E86-98E2-0D1AC5A3D015}"/>
              </a:ext>
            </a:extLst>
          </p:cNvPr>
          <p:cNvSpPr txBox="1">
            <a:spLocks/>
          </p:cNvSpPr>
          <p:nvPr/>
        </p:nvSpPr>
        <p:spPr bwMode="gray">
          <a:xfrm>
            <a:off x="5492339" y="1193483"/>
            <a:ext cx="555564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s standard work based on standard rate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s there a clear trigger when cycle starts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s any wait time clear and visible?</a:t>
            </a:r>
          </a:p>
        </p:txBody>
      </p:sp>
      <p:sp>
        <p:nvSpPr>
          <p:cNvPr id="40" name="Rectangle 45">
            <a:extLst>
              <a:ext uri="{FF2B5EF4-FFF2-40B4-BE49-F238E27FC236}">
                <a16:creationId xmlns:a16="http://schemas.microsoft.com/office/drawing/2014/main" id="{60D48921-5EA4-4F52-8695-A06C5B4B156E}"/>
              </a:ext>
            </a:extLst>
          </p:cNvPr>
          <p:cNvSpPr txBox="1">
            <a:spLocks/>
          </p:cNvSpPr>
          <p:nvPr/>
        </p:nvSpPr>
        <p:spPr bwMode="gray">
          <a:xfrm>
            <a:off x="2514273" y="1887953"/>
            <a:ext cx="240636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Work clearly standardised</a:t>
            </a:r>
          </a:p>
        </p:txBody>
      </p:sp>
      <p:sp>
        <p:nvSpPr>
          <p:cNvPr id="41" name="Rectangle 45">
            <a:extLst>
              <a:ext uri="{FF2B5EF4-FFF2-40B4-BE49-F238E27FC236}">
                <a16:creationId xmlns:a16="http://schemas.microsoft.com/office/drawing/2014/main" id="{0163CC95-57B6-4178-98CE-CFF1177EB0E5}"/>
              </a:ext>
            </a:extLst>
          </p:cNvPr>
          <p:cNvSpPr txBox="1">
            <a:spLocks/>
          </p:cNvSpPr>
          <p:nvPr/>
        </p:nvSpPr>
        <p:spPr bwMode="gray">
          <a:xfrm>
            <a:off x="5492339" y="1821839"/>
            <a:ext cx="555564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s there a clear work pattern with defined cycle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s cycle repeated without disruption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Does each person perform tasks in the same way?</a:t>
            </a:r>
          </a:p>
        </p:txBody>
      </p:sp>
      <p:sp>
        <p:nvSpPr>
          <p:cNvPr id="42" name="Rectangle 45">
            <a:extLst>
              <a:ext uri="{FF2B5EF4-FFF2-40B4-BE49-F238E27FC236}">
                <a16:creationId xmlns:a16="http://schemas.microsoft.com/office/drawing/2014/main" id="{2CEEFCBD-ECFB-4B56-8EE2-E521EBD19438}"/>
              </a:ext>
            </a:extLst>
          </p:cNvPr>
          <p:cNvSpPr txBox="1">
            <a:spLocks/>
          </p:cNvSpPr>
          <p:nvPr/>
        </p:nvSpPr>
        <p:spPr bwMode="gray">
          <a:xfrm>
            <a:off x="2525848" y="5774944"/>
            <a:ext cx="240636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Machines are maintained to clear plan</a:t>
            </a:r>
          </a:p>
        </p:txBody>
      </p:sp>
      <p:sp>
        <p:nvSpPr>
          <p:cNvPr id="43" name="Rectangle 45">
            <a:extLst>
              <a:ext uri="{FF2B5EF4-FFF2-40B4-BE49-F238E27FC236}">
                <a16:creationId xmlns:a16="http://schemas.microsoft.com/office/drawing/2014/main" id="{64653593-B10C-4D68-A7E9-9FBABDE8A946}"/>
              </a:ext>
            </a:extLst>
          </p:cNvPr>
          <p:cNvSpPr txBox="1">
            <a:spLocks/>
          </p:cNvSpPr>
          <p:nvPr/>
        </p:nvSpPr>
        <p:spPr bwMode="gray">
          <a:xfrm>
            <a:off x="5492337" y="5723797"/>
            <a:ext cx="623281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s preventative maintenance plan visible?  Are tasks completed up to date?  If not, is there a clear plan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When was the schedule last reviewed and updated?</a:t>
            </a:r>
          </a:p>
        </p:txBody>
      </p:sp>
      <p:sp>
        <p:nvSpPr>
          <p:cNvPr id="44" name="Rectangle 45">
            <a:extLst>
              <a:ext uri="{FF2B5EF4-FFF2-40B4-BE49-F238E27FC236}">
                <a16:creationId xmlns:a16="http://schemas.microsoft.com/office/drawing/2014/main" id="{8595E12F-672D-4B02-A01D-7E38BDD80E7C}"/>
              </a:ext>
            </a:extLst>
          </p:cNvPr>
          <p:cNvSpPr txBox="1">
            <a:spLocks/>
          </p:cNvSpPr>
          <p:nvPr/>
        </p:nvSpPr>
        <p:spPr bwMode="gray">
          <a:xfrm>
            <a:off x="2525848" y="5230550"/>
            <a:ext cx="240636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Machine has standard settings which are adhered to</a:t>
            </a:r>
          </a:p>
        </p:txBody>
      </p:sp>
      <p:sp>
        <p:nvSpPr>
          <p:cNvPr id="45" name="Rectangle 45">
            <a:extLst>
              <a:ext uri="{FF2B5EF4-FFF2-40B4-BE49-F238E27FC236}">
                <a16:creationId xmlns:a16="http://schemas.microsoft.com/office/drawing/2014/main" id="{F1B5E70A-BF5F-46DA-A9B8-C9A7D072CFA8}"/>
              </a:ext>
            </a:extLst>
          </p:cNvPr>
          <p:cNvSpPr txBox="1">
            <a:spLocks/>
          </p:cNvSpPr>
          <p:nvPr/>
        </p:nvSpPr>
        <p:spPr bwMode="gray">
          <a:xfrm>
            <a:off x="5492337" y="5204664"/>
            <a:ext cx="623281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Are there standard settings?  Are these visible and in use (are numbers correct today)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When were settings last reviewed and updated?</a:t>
            </a:r>
          </a:p>
        </p:txBody>
      </p:sp>
      <p:sp>
        <p:nvSpPr>
          <p:cNvPr id="47" name="Rectangle 45">
            <a:extLst>
              <a:ext uri="{FF2B5EF4-FFF2-40B4-BE49-F238E27FC236}">
                <a16:creationId xmlns:a16="http://schemas.microsoft.com/office/drawing/2014/main" id="{BFD4A959-BB6D-4B75-A0EB-9BD30105C8A0}"/>
              </a:ext>
            </a:extLst>
          </p:cNvPr>
          <p:cNvSpPr txBox="1">
            <a:spLocks/>
          </p:cNvSpPr>
          <p:nvPr/>
        </p:nvSpPr>
        <p:spPr bwMode="gray">
          <a:xfrm>
            <a:off x="2514273" y="3717784"/>
            <a:ext cx="240636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Material flow around the operator should minimise movement and transport</a:t>
            </a:r>
          </a:p>
        </p:txBody>
      </p:sp>
      <p:sp>
        <p:nvSpPr>
          <p:cNvPr id="48" name="Rectangle 45">
            <a:extLst>
              <a:ext uri="{FF2B5EF4-FFF2-40B4-BE49-F238E27FC236}">
                <a16:creationId xmlns:a16="http://schemas.microsoft.com/office/drawing/2014/main" id="{4B359B9F-4D27-4F07-8E8D-424940A4EF95}"/>
              </a:ext>
            </a:extLst>
          </p:cNvPr>
          <p:cNvSpPr txBox="1">
            <a:spLocks/>
          </p:cNvSpPr>
          <p:nvPr/>
        </p:nvSpPr>
        <p:spPr bwMode="gray">
          <a:xfrm>
            <a:off x="5492338" y="3836667"/>
            <a:ext cx="6429586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s material presented in a way to support standard work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s there a trigger for material replenishment?  Does it work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s there a trigger for material removal from the line?  Does it work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How are materials stored on and offline (5S principles)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s there visual control to start/stop production (e.g. staging area)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How do management prepare and support next job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Is all of this visible at a glance (visual control in place)?</a:t>
            </a:r>
          </a:p>
        </p:txBody>
      </p:sp>
      <p:sp>
        <p:nvSpPr>
          <p:cNvPr id="50" name="Rectangle 45">
            <a:extLst>
              <a:ext uri="{FF2B5EF4-FFF2-40B4-BE49-F238E27FC236}">
                <a16:creationId xmlns:a16="http://schemas.microsoft.com/office/drawing/2014/main" id="{04D322A8-322D-4132-9940-6CD1C209C3C6}"/>
              </a:ext>
            </a:extLst>
          </p:cNvPr>
          <p:cNvSpPr txBox="1">
            <a:spLocks/>
          </p:cNvSpPr>
          <p:nvPr/>
        </p:nvSpPr>
        <p:spPr bwMode="gray">
          <a:xfrm>
            <a:off x="2514273" y="2471236"/>
            <a:ext cx="2406367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Management activity focussed on delivering desired outcomes through identifying, standardising and managing barriers</a:t>
            </a:r>
          </a:p>
        </p:txBody>
      </p:sp>
      <p:sp>
        <p:nvSpPr>
          <p:cNvPr id="51" name="Rectangle 45">
            <a:extLst>
              <a:ext uri="{FF2B5EF4-FFF2-40B4-BE49-F238E27FC236}">
                <a16:creationId xmlns:a16="http://schemas.microsoft.com/office/drawing/2014/main" id="{C8963D68-43ED-4B7E-9F2D-BD8AE7C0CF34}"/>
              </a:ext>
            </a:extLst>
          </p:cNvPr>
          <p:cNvSpPr txBox="1">
            <a:spLocks/>
          </p:cNvSpPr>
          <p:nvPr/>
        </p:nvSpPr>
        <p:spPr bwMode="gray">
          <a:xfrm>
            <a:off x="5492338" y="2524461"/>
            <a:ext cx="623281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F0AB00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66481" lvl="2" indent="-267255" defTabSz="913526" eaLnBrk="1" hangingPunct="1">
              <a:buClr>
                <a:schemeClr val="accent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accent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accent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Are data, observations and interviews used to clarify problems? Or is data used alone 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Are preventative maintenance and equipment standards used to prevent break downs?  Or is all resource responding to breakdowns?</a:t>
            </a:r>
          </a:p>
          <a:p>
            <a:pPr lvl="1"/>
            <a:r>
              <a:rPr lang="en-GB" dirty="0">
                <a:solidFill>
                  <a:schemeClr val="bg1">
                    <a:lumMod val="95000"/>
                  </a:schemeClr>
                </a:solidFill>
              </a:rPr>
              <a:t>Are there clear and specific settings for machinery? Or is there dependency on unique individual skills?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E299D55-4515-4C60-A72B-2BEDAE4E32F1}"/>
              </a:ext>
            </a:extLst>
          </p:cNvPr>
          <p:cNvCxnSpPr>
            <a:cxnSpLocks/>
          </p:cNvCxnSpPr>
          <p:nvPr/>
        </p:nvCxnSpPr>
        <p:spPr bwMode="gray">
          <a:xfrm>
            <a:off x="2226888" y="2441074"/>
            <a:ext cx="9336221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5DA8126-0822-4B45-BA44-C5B8810A4341}"/>
              </a:ext>
            </a:extLst>
          </p:cNvPr>
          <p:cNvCxnSpPr>
            <a:cxnSpLocks/>
          </p:cNvCxnSpPr>
          <p:nvPr/>
        </p:nvCxnSpPr>
        <p:spPr bwMode="gray">
          <a:xfrm>
            <a:off x="2240391" y="3507872"/>
            <a:ext cx="9336221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3463BA0-ED24-4F36-9938-0394D3479079}"/>
              </a:ext>
            </a:extLst>
          </p:cNvPr>
          <p:cNvCxnSpPr>
            <a:cxnSpLocks/>
          </p:cNvCxnSpPr>
          <p:nvPr/>
        </p:nvCxnSpPr>
        <p:spPr bwMode="gray">
          <a:xfrm>
            <a:off x="2240391" y="5132001"/>
            <a:ext cx="9336221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57905302-FE9F-474D-83AC-7AC11C8F12C9}"/>
              </a:ext>
            </a:extLst>
          </p:cNvPr>
          <p:cNvSpPr/>
          <p:nvPr/>
        </p:nvSpPr>
        <p:spPr>
          <a:xfrm>
            <a:off x="9377225" y="148705"/>
            <a:ext cx="2618004" cy="5414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59" name="Picture 58" descr="A picture containing drawing&#10;&#10;Description automatically generated">
            <a:extLst>
              <a:ext uri="{FF2B5EF4-FFF2-40B4-BE49-F238E27FC236}">
                <a16:creationId xmlns:a16="http://schemas.microsoft.com/office/drawing/2014/main" id="{78FEF834-7AB7-4A4F-AB67-498A2BF5987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953" b="94787" l="2560" r="99744">
                        <a14:foregroundMark x1="4863" y1="42654" x2="4863" y2="42654"/>
                        <a14:foregroundMark x1="4949" y1="69194" x2="4949" y2="69194"/>
                        <a14:foregroundMark x1="2560" y1="68246" x2="2560" y2="68246"/>
                        <a14:foregroundMark x1="4949" y1="86256" x2="4949" y2="86256"/>
                        <a14:foregroundMark x1="19881" y1="51659" x2="19881" y2="51659"/>
                        <a14:foregroundMark x1="23294" y1="30332" x2="23294" y2="30332"/>
                        <a14:foregroundMark x1="43430" y1="37441" x2="43430" y2="37441"/>
                        <a14:foregroundMark x1="48038" y1="93839" x2="48038" y2="93839"/>
                        <a14:foregroundMark x1="44113" y1="94787" x2="44113" y2="94787"/>
                        <a14:foregroundMark x1="59471" y1="50237" x2="59471" y2="50237"/>
                        <a14:foregroundMark x1="78242" y1="57346" x2="78242" y2="57346"/>
                        <a14:foregroundMark x1="89846" y1="90995" x2="89846" y2="90995"/>
                        <a14:foregroundMark x1="89676" y1="70142" x2="89676" y2="70142"/>
                        <a14:foregroundMark x1="99744" y1="67773" x2="99744" y2="67773"/>
                        <a14:foregroundMark x1="58703" y1="14218" x2="58703" y2="14218"/>
                        <a14:foregroundMark x1="58788" y1="74882" x2="58788" y2="74882"/>
                        <a14:backgroundMark x1="15444" y1="94313" x2="15444" y2="94313"/>
                        <a14:backgroundMark x1="16382" y1="49763" x2="16382" y2="49763"/>
                        <a14:backgroundMark x1="17406" y1="31754" x2="17406" y2="31754"/>
                        <a14:backgroundMark x1="29693" y1="44076" x2="29693" y2="44076"/>
                        <a14:backgroundMark x1="41724" y1="36967" x2="41724" y2="36967"/>
                        <a14:backgroundMark x1="52986" y1="51185" x2="52986" y2="51185"/>
                        <a14:backgroundMark x1="68259" y1="45972" x2="68259" y2="45972"/>
                        <a14:backgroundMark x1="82850" y1="44076" x2="82850" y2="44076"/>
                        <a14:backgroundMark x1="93515" y1="26066" x2="93515" y2="26066"/>
                        <a14:backgroundMark x1="8618" y1="51185" x2="8618" y2="51185"/>
                        <a14:backgroundMark x1="1195" y1="24171" x2="1195" y2="24171"/>
                        <a14:backgroundMark x1="1792" y1="78199" x2="1792" y2="78199"/>
                        <a14:backgroundMark x1="17065" y1="78199" x2="17065" y2="781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5403" y="191131"/>
            <a:ext cx="2463137" cy="44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4082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E3ABC37E-6213-4536-9473-004FAB156C44}"/>
              </a:ext>
            </a:extLst>
          </p:cNvPr>
          <p:cNvSpPr/>
          <p:nvPr/>
        </p:nvSpPr>
        <p:spPr>
          <a:xfrm>
            <a:off x="9377225" y="148705"/>
            <a:ext cx="2618004" cy="5414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TextBox 13"/>
          <p:cNvSpPr txBox="1"/>
          <p:nvPr/>
        </p:nvSpPr>
        <p:spPr>
          <a:xfrm>
            <a:off x="452205" y="550066"/>
            <a:ext cx="79973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>
                <a:solidFill>
                  <a:schemeClr val="bg1">
                    <a:lumMod val="95000"/>
                  </a:schemeClr>
                </a:solidFill>
                <a:ea typeface="Microsoft JhengHei Light" panose="020B0304030504040204" pitchFamily="34" charset="-120"/>
              </a:rPr>
              <a:t>A Gemba should always be prepared for. Doing a walk around without a purpose will be inefficient and counterproductive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1FCAE3B-690A-40DF-A133-F9E850B479F6}"/>
              </a:ext>
            </a:extLst>
          </p:cNvPr>
          <p:cNvSpPr txBox="1">
            <a:spLocks/>
          </p:cNvSpPr>
          <p:nvPr/>
        </p:nvSpPr>
        <p:spPr>
          <a:xfrm>
            <a:off x="452205" y="191131"/>
            <a:ext cx="11287589" cy="371247"/>
          </a:xfr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00" cap="all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800" b="1" dirty="0"/>
              <a:t>Gemba Template &amp; how to guide</a:t>
            </a:r>
            <a:endParaRPr lang="en-US" sz="28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60BD37-3877-4769-9A79-223F99EB11EB}"/>
              </a:ext>
            </a:extLst>
          </p:cNvPr>
          <p:cNvSpPr/>
          <p:nvPr/>
        </p:nvSpPr>
        <p:spPr>
          <a:xfrm>
            <a:off x="567159" y="1423686"/>
            <a:ext cx="4398380" cy="11458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dirty="0"/>
              <a:t>Completed by:</a:t>
            </a:r>
          </a:p>
          <a:p>
            <a:r>
              <a:rPr lang="en-AU" dirty="0"/>
              <a:t>Date:</a:t>
            </a:r>
          </a:p>
          <a:p>
            <a:r>
              <a:rPr lang="en-AU" dirty="0"/>
              <a:t>Area: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13CF7B5-53A3-4DDB-88E3-517DB5F4747A}"/>
              </a:ext>
            </a:extLst>
          </p:cNvPr>
          <p:cNvSpPr/>
          <p:nvPr/>
        </p:nvSpPr>
        <p:spPr>
          <a:xfrm>
            <a:off x="567159" y="2669544"/>
            <a:ext cx="4398380" cy="38585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CB423E1-2AB3-4FD2-AD9D-E87ED13B4223}"/>
              </a:ext>
            </a:extLst>
          </p:cNvPr>
          <p:cNvSpPr/>
          <p:nvPr/>
        </p:nvSpPr>
        <p:spPr>
          <a:xfrm>
            <a:off x="5268409" y="5434314"/>
            <a:ext cx="6259976" cy="10938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F10C499-59CE-4A89-83D3-A35E45EEA46F}"/>
              </a:ext>
            </a:extLst>
          </p:cNvPr>
          <p:cNvSpPr/>
          <p:nvPr/>
        </p:nvSpPr>
        <p:spPr>
          <a:xfrm>
            <a:off x="5268408" y="2167164"/>
            <a:ext cx="5970609" cy="30877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D0D3ACF-6373-4AB7-A3C8-18A13FD25807}"/>
              </a:ext>
            </a:extLst>
          </p:cNvPr>
          <p:cNvSpPr txBox="1"/>
          <p:nvPr/>
        </p:nvSpPr>
        <p:spPr>
          <a:xfrm>
            <a:off x="567159" y="2669544"/>
            <a:ext cx="2313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>
                <a:solidFill>
                  <a:schemeClr val="bg1">
                    <a:lumMod val="95000"/>
                  </a:schemeClr>
                </a:solidFill>
              </a:rPr>
              <a:t>Before (preparation):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DC5D547-B1B5-4D45-B7FD-B113686B479F}"/>
              </a:ext>
            </a:extLst>
          </p:cNvPr>
          <p:cNvSpPr txBox="1"/>
          <p:nvPr/>
        </p:nvSpPr>
        <p:spPr>
          <a:xfrm>
            <a:off x="567159" y="3283228"/>
            <a:ext cx="25026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dirty="0">
                <a:solidFill>
                  <a:schemeClr val="bg1">
                    <a:lumMod val="95000"/>
                  </a:schemeClr>
                </a:solidFill>
              </a:rPr>
              <a:t>What are you looking to find?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89F0BEA-95E9-476B-81A8-D13B6820128C}"/>
              </a:ext>
            </a:extLst>
          </p:cNvPr>
          <p:cNvSpPr txBox="1"/>
          <p:nvPr/>
        </p:nvSpPr>
        <p:spPr>
          <a:xfrm>
            <a:off x="567159" y="4050800"/>
            <a:ext cx="25122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dirty="0">
                <a:solidFill>
                  <a:schemeClr val="bg1">
                    <a:lumMod val="95000"/>
                  </a:schemeClr>
                </a:solidFill>
              </a:rPr>
              <a:t>Who are you going to coach?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6398573-6C1C-4C59-99E9-4553389DBC91}"/>
              </a:ext>
            </a:extLst>
          </p:cNvPr>
          <p:cNvSpPr txBox="1"/>
          <p:nvPr/>
        </p:nvSpPr>
        <p:spPr>
          <a:xfrm>
            <a:off x="567159" y="4746984"/>
            <a:ext cx="24224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dirty="0">
                <a:solidFill>
                  <a:schemeClr val="bg1">
                    <a:lumMod val="95000"/>
                  </a:schemeClr>
                </a:solidFill>
              </a:rPr>
              <a:t>How are you going to learn?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C1FCE66-748D-4A03-AFCC-147E86F59CE9}"/>
              </a:ext>
            </a:extLst>
          </p:cNvPr>
          <p:cNvSpPr txBox="1"/>
          <p:nvPr/>
        </p:nvSpPr>
        <p:spPr>
          <a:xfrm>
            <a:off x="5268408" y="2200248"/>
            <a:ext cx="4282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bg1">
                    <a:lumMod val="95000"/>
                  </a:schemeClr>
                </a:solidFill>
              </a:rPr>
              <a:t>Observations (During):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6A967C6-B012-4E24-952F-157BA3825706}"/>
              </a:ext>
            </a:extLst>
          </p:cNvPr>
          <p:cNvSpPr/>
          <p:nvPr/>
        </p:nvSpPr>
        <p:spPr>
          <a:xfrm>
            <a:off x="5268408" y="1418607"/>
            <a:ext cx="3377881" cy="630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44C144D-1F0A-46EC-9A37-D64CFB9111BB}"/>
              </a:ext>
            </a:extLst>
          </p:cNvPr>
          <p:cNvSpPr txBox="1"/>
          <p:nvPr/>
        </p:nvSpPr>
        <p:spPr>
          <a:xfrm>
            <a:off x="5268409" y="1432880"/>
            <a:ext cx="3007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bg1">
                    <a:lumMod val="95000"/>
                  </a:schemeClr>
                </a:solidFill>
              </a:rPr>
              <a:t>Focus: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8173C67-DA0B-4F24-B941-102C6A54799A}"/>
              </a:ext>
            </a:extLst>
          </p:cNvPr>
          <p:cNvSpPr txBox="1"/>
          <p:nvPr/>
        </p:nvSpPr>
        <p:spPr>
          <a:xfrm>
            <a:off x="5268408" y="5476331"/>
            <a:ext cx="4282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bg1">
                    <a:lumMod val="95000"/>
                  </a:schemeClr>
                </a:solidFill>
              </a:rPr>
              <a:t>Actions (after):</a:t>
            </a:r>
          </a:p>
        </p:txBody>
      </p:sp>
      <p:sp>
        <p:nvSpPr>
          <p:cNvPr id="41" name="Speech Bubble: Rectangle 40">
            <a:extLst>
              <a:ext uri="{FF2B5EF4-FFF2-40B4-BE49-F238E27FC236}">
                <a16:creationId xmlns:a16="http://schemas.microsoft.com/office/drawing/2014/main" id="{79AD119C-7ED8-4D9D-964A-1209991070E5}"/>
              </a:ext>
            </a:extLst>
          </p:cNvPr>
          <p:cNvSpPr/>
          <p:nvPr/>
        </p:nvSpPr>
        <p:spPr>
          <a:xfrm>
            <a:off x="1647873" y="972248"/>
            <a:ext cx="1341744" cy="454577"/>
          </a:xfrm>
          <a:prstGeom prst="wedgeRectCallout">
            <a:avLst>
              <a:gd name="adj1" fmla="val 13408"/>
              <a:gd name="adj2" fmla="val 92204"/>
            </a:avLst>
          </a:prstGeom>
          <a:solidFill>
            <a:schemeClr val="accent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103179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</a:rPr>
              <a:t>1. Fill in study details, including which area you will visit </a:t>
            </a:r>
          </a:p>
        </p:txBody>
      </p:sp>
      <p:sp>
        <p:nvSpPr>
          <p:cNvPr id="42" name="Speech Bubble: Rectangle 41">
            <a:extLst>
              <a:ext uri="{FF2B5EF4-FFF2-40B4-BE49-F238E27FC236}">
                <a16:creationId xmlns:a16="http://schemas.microsoft.com/office/drawing/2014/main" id="{B1FF63F7-A707-43F5-BF61-B06DD59E89B7}"/>
              </a:ext>
            </a:extLst>
          </p:cNvPr>
          <p:cNvSpPr/>
          <p:nvPr/>
        </p:nvSpPr>
        <p:spPr>
          <a:xfrm>
            <a:off x="6313268" y="1044259"/>
            <a:ext cx="1341744" cy="302226"/>
          </a:xfrm>
          <a:prstGeom prst="wedgeRectCallout">
            <a:avLst>
              <a:gd name="adj1" fmla="val 29780"/>
              <a:gd name="adj2" fmla="val 107326"/>
            </a:avLst>
          </a:prstGeom>
          <a:solidFill>
            <a:schemeClr val="accent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103179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</a:rPr>
              <a:t>2. Determine the focus for the Gemba</a:t>
            </a:r>
          </a:p>
        </p:txBody>
      </p:sp>
      <p:sp>
        <p:nvSpPr>
          <p:cNvPr id="43" name="Speech Bubble: Rectangle 42">
            <a:extLst>
              <a:ext uri="{FF2B5EF4-FFF2-40B4-BE49-F238E27FC236}">
                <a16:creationId xmlns:a16="http://schemas.microsoft.com/office/drawing/2014/main" id="{F2B9E303-2167-48BD-AAF1-CC42396E941F}"/>
              </a:ext>
            </a:extLst>
          </p:cNvPr>
          <p:cNvSpPr/>
          <p:nvPr/>
        </p:nvSpPr>
        <p:spPr>
          <a:xfrm>
            <a:off x="3387559" y="2898963"/>
            <a:ext cx="950206" cy="590778"/>
          </a:xfrm>
          <a:prstGeom prst="wedgeRectCallout">
            <a:avLst>
              <a:gd name="adj1" fmla="val -95475"/>
              <a:gd name="adj2" fmla="val -46158"/>
            </a:avLst>
          </a:prstGeom>
          <a:solidFill>
            <a:schemeClr val="accent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103179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</a:rPr>
              <a:t>3. Plan the walk – be specific</a:t>
            </a:r>
          </a:p>
        </p:txBody>
      </p:sp>
      <p:sp>
        <p:nvSpPr>
          <p:cNvPr id="44" name="Speech Bubble: Rectangle 43">
            <a:extLst>
              <a:ext uri="{FF2B5EF4-FFF2-40B4-BE49-F238E27FC236}">
                <a16:creationId xmlns:a16="http://schemas.microsoft.com/office/drawing/2014/main" id="{C752E5C8-BFAB-4D12-80D8-A71307B00BB1}"/>
              </a:ext>
            </a:extLst>
          </p:cNvPr>
          <p:cNvSpPr/>
          <p:nvPr/>
        </p:nvSpPr>
        <p:spPr>
          <a:xfrm>
            <a:off x="9113407" y="1749008"/>
            <a:ext cx="1941352" cy="358933"/>
          </a:xfrm>
          <a:prstGeom prst="wedgeRectCallout">
            <a:avLst>
              <a:gd name="adj1" fmla="val -28493"/>
              <a:gd name="adj2" fmla="val 166763"/>
            </a:avLst>
          </a:prstGeom>
          <a:solidFill>
            <a:schemeClr val="accent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103179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</a:rPr>
              <a:t>4. Go to the Gemba – note down your observations</a:t>
            </a:r>
          </a:p>
        </p:txBody>
      </p:sp>
      <p:sp>
        <p:nvSpPr>
          <p:cNvPr id="45" name="Speech Bubble: Rectangle 44">
            <a:extLst>
              <a:ext uri="{FF2B5EF4-FFF2-40B4-BE49-F238E27FC236}">
                <a16:creationId xmlns:a16="http://schemas.microsoft.com/office/drawing/2014/main" id="{8C6EE33F-1ECD-4001-8FAE-6A766CB6E367}"/>
              </a:ext>
            </a:extLst>
          </p:cNvPr>
          <p:cNvSpPr/>
          <p:nvPr/>
        </p:nvSpPr>
        <p:spPr>
          <a:xfrm>
            <a:off x="7226463" y="5054761"/>
            <a:ext cx="1478231" cy="1248191"/>
          </a:xfrm>
          <a:prstGeom prst="wedgeRectCallout">
            <a:avLst>
              <a:gd name="adj1" fmla="val -71920"/>
              <a:gd name="adj2" fmla="val -1173"/>
            </a:avLst>
          </a:prstGeom>
          <a:solidFill>
            <a:schemeClr val="accent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103179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</a:rPr>
              <a:t>5. After the Gemba reflect on your observations and discussions – generate corrective actions, provide feedback and escalate where applicable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4C0F2620-ABCE-4C74-886C-24AAE99856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53" b="94787" l="2560" r="99744">
                        <a14:foregroundMark x1="4863" y1="42654" x2="4863" y2="42654"/>
                        <a14:foregroundMark x1="4949" y1="69194" x2="4949" y2="69194"/>
                        <a14:foregroundMark x1="2560" y1="68246" x2="2560" y2="68246"/>
                        <a14:foregroundMark x1="4949" y1="86256" x2="4949" y2="86256"/>
                        <a14:foregroundMark x1="19881" y1="51659" x2="19881" y2="51659"/>
                        <a14:foregroundMark x1="23294" y1="30332" x2="23294" y2="30332"/>
                        <a14:foregroundMark x1="43430" y1="37441" x2="43430" y2="37441"/>
                        <a14:foregroundMark x1="48038" y1="93839" x2="48038" y2="93839"/>
                        <a14:foregroundMark x1="44113" y1="94787" x2="44113" y2="94787"/>
                        <a14:foregroundMark x1="59471" y1="50237" x2="59471" y2="50237"/>
                        <a14:foregroundMark x1="78242" y1="57346" x2="78242" y2="57346"/>
                        <a14:foregroundMark x1="89846" y1="90995" x2="89846" y2="90995"/>
                        <a14:foregroundMark x1="89676" y1="70142" x2="89676" y2="70142"/>
                        <a14:foregroundMark x1="99744" y1="67773" x2="99744" y2="67773"/>
                        <a14:foregroundMark x1="58703" y1="14218" x2="58703" y2="14218"/>
                        <a14:foregroundMark x1="58788" y1="74882" x2="58788" y2="74882"/>
                        <a14:backgroundMark x1="15444" y1="94313" x2="15444" y2="94313"/>
                        <a14:backgroundMark x1="16382" y1="49763" x2="16382" y2="49763"/>
                        <a14:backgroundMark x1="17406" y1="31754" x2="17406" y2="31754"/>
                        <a14:backgroundMark x1="29693" y1="44076" x2="29693" y2="44076"/>
                        <a14:backgroundMark x1="41724" y1="36967" x2="41724" y2="36967"/>
                        <a14:backgroundMark x1="52986" y1="51185" x2="52986" y2="51185"/>
                        <a14:backgroundMark x1="68259" y1="45972" x2="68259" y2="45972"/>
                        <a14:backgroundMark x1="82850" y1="44076" x2="82850" y2="44076"/>
                        <a14:backgroundMark x1="93515" y1="26066" x2="93515" y2="26066"/>
                        <a14:backgroundMark x1="8618" y1="51185" x2="8618" y2="51185"/>
                        <a14:backgroundMark x1="1195" y1="24171" x2="1195" y2="24171"/>
                        <a14:backgroundMark x1="1792" y1="78199" x2="1792" y2="78199"/>
                        <a14:backgroundMark x1="17065" y1="78199" x2="17065" y2="781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5403" y="191131"/>
            <a:ext cx="2463137" cy="44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0449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52205" y="677392"/>
            <a:ext cx="7823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>
                <a:solidFill>
                  <a:schemeClr val="bg1">
                    <a:lumMod val="95000"/>
                  </a:schemeClr>
                </a:solidFill>
                <a:ea typeface="Microsoft JhengHei Light" panose="020B0304030504040204" pitchFamily="34" charset="-120"/>
              </a:rPr>
              <a:t>A Gemba should always be prepared for. Doing a walk around without a purpose will be inefficient and counterproductive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1FCAE3B-690A-40DF-A133-F9E850B479F6}"/>
              </a:ext>
            </a:extLst>
          </p:cNvPr>
          <p:cNvSpPr txBox="1">
            <a:spLocks/>
          </p:cNvSpPr>
          <p:nvPr/>
        </p:nvSpPr>
        <p:spPr>
          <a:xfrm>
            <a:off x="452205" y="191131"/>
            <a:ext cx="11287589" cy="371247"/>
          </a:xfr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00" cap="all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800" b="1" dirty="0"/>
              <a:t>Gemba Template</a:t>
            </a:r>
            <a:endParaRPr lang="en-US" sz="28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60BD37-3877-4769-9A79-223F99EB11EB}"/>
              </a:ext>
            </a:extLst>
          </p:cNvPr>
          <p:cNvSpPr/>
          <p:nvPr/>
        </p:nvSpPr>
        <p:spPr>
          <a:xfrm>
            <a:off x="567159" y="1423686"/>
            <a:ext cx="4398380" cy="11458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dirty="0"/>
              <a:t>Completed by:</a:t>
            </a:r>
          </a:p>
          <a:p>
            <a:r>
              <a:rPr lang="en-AU" dirty="0"/>
              <a:t>Date:</a:t>
            </a:r>
          </a:p>
          <a:p>
            <a:r>
              <a:rPr lang="en-AU" dirty="0"/>
              <a:t>Area: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13CF7B5-53A3-4DDB-88E3-517DB5F4747A}"/>
              </a:ext>
            </a:extLst>
          </p:cNvPr>
          <p:cNvSpPr/>
          <p:nvPr/>
        </p:nvSpPr>
        <p:spPr>
          <a:xfrm>
            <a:off x="567159" y="2669544"/>
            <a:ext cx="4398380" cy="38585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CB423E1-2AB3-4FD2-AD9D-E87ED13B4223}"/>
              </a:ext>
            </a:extLst>
          </p:cNvPr>
          <p:cNvSpPr/>
          <p:nvPr/>
        </p:nvSpPr>
        <p:spPr>
          <a:xfrm>
            <a:off x="5268409" y="5434314"/>
            <a:ext cx="6259976" cy="10938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F10C499-59CE-4A89-83D3-A35E45EEA46F}"/>
              </a:ext>
            </a:extLst>
          </p:cNvPr>
          <p:cNvSpPr/>
          <p:nvPr/>
        </p:nvSpPr>
        <p:spPr>
          <a:xfrm>
            <a:off x="5268408" y="2167164"/>
            <a:ext cx="5970609" cy="30877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D0D3ACF-6373-4AB7-A3C8-18A13FD25807}"/>
              </a:ext>
            </a:extLst>
          </p:cNvPr>
          <p:cNvSpPr txBox="1"/>
          <p:nvPr/>
        </p:nvSpPr>
        <p:spPr>
          <a:xfrm>
            <a:off x="567159" y="2669544"/>
            <a:ext cx="2313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>
                <a:solidFill>
                  <a:schemeClr val="bg1">
                    <a:lumMod val="95000"/>
                  </a:schemeClr>
                </a:solidFill>
              </a:rPr>
              <a:t>Before (preparation):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DC5D547-B1B5-4D45-B7FD-B113686B479F}"/>
              </a:ext>
            </a:extLst>
          </p:cNvPr>
          <p:cNvSpPr txBox="1"/>
          <p:nvPr/>
        </p:nvSpPr>
        <p:spPr>
          <a:xfrm>
            <a:off x="567159" y="3283228"/>
            <a:ext cx="25026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dirty="0">
                <a:solidFill>
                  <a:schemeClr val="bg1">
                    <a:lumMod val="95000"/>
                  </a:schemeClr>
                </a:solidFill>
              </a:rPr>
              <a:t>What are you looking to find?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89F0BEA-95E9-476B-81A8-D13B6820128C}"/>
              </a:ext>
            </a:extLst>
          </p:cNvPr>
          <p:cNvSpPr txBox="1"/>
          <p:nvPr/>
        </p:nvSpPr>
        <p:spPr>
          <a:xfrm>
            <a:off x="567159" y="4050800"/>
            <a:ext cx="25122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dirty="0">
                <a:solidFill>
                  <a:schemeClr val="bg1">
                    <a:lumMod val="95000"/>
                  </a:schemeClr>
                </a:solidFill>
              </a:rPr>
              <a:t>Who are you going to coach?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6398573-6C1C-4C59-99E9-4553389DBC91}"/>
              </a:ext>
            </a:extLst>
          </p:cNvPr>
          <p:cNvSpPr txBox="1"/>
          <p:nvPr/>
        </p:nvSpPr>
        <p:spPr>
          <a:xfrm>
            <a:off x="567159" y="4746984"/>
            <a:ext cx="24224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dirty="0">
                <a:solidFill>
                  <a:schemeClr val="bg1">
                    <a:lumMod val="95000"/>
                  </a:schemeClr>
                </a:solidFill>
              </a:rPr>
              <a:t>How are you going to learn?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C1FCE66-748D-4A03-AFCC-147E86F59CE9}"/>
              </a:ext>
            </a:extLst>
          </p:cNvPr>
          <p:cNvSpPr txBox="1"/>
          <p:nvPr/>
        </p:nvSpPr>
        <p:spPr>
          <a:xfrm>
            <a:off x="5268408" y="2200248"/>
            <a:ext cx="4282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bg1">
                    <a:lumMod val="95000"/>
                  </a:schemeClr>
                </a:solidFill>
              </a:rPr>
              <a:t>Observations (During):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6A967C6-B012-4E24-952F-157BA3825706}"/>
              </a:ext>
            </a:extLst>
          </p:cNvPr>
          <p:cNvSpPr/>
          <p:nvPr/>
        </p:nvSpPr>
        <p:spPr>
          <a:xfrm>
            <a:off x="5268408" y="1418607"/>
            <a:ext cx="3377881" cy="630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44C144D-1F0A-46EC-9A37-D64CFB9111BB}"/>
              </a:ext>
            </a:extLst>
          </p:cNvPr>
          <p:cNvSpPr txBox="1"/>
          <p:nvPr/>
        </p:nvSpPr>
        <p:spPr>
          <a:xfrm>
            <a:off x="5268409" y="1432880"/>
            <a:ext cx="3007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bg1">
                    <a:lumMod val="95000"/>
                  </a:schemeClr>
                </a:solidFill>
              </a:rPr>
              <a:t>Focus: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8173C67-DA0B-4F24-B941-102C6A54799A}"/>
              </a:ext>
            </a:extLst>
          </p:cNvPr>
          <p:cNvSpPr txBox="1"/>
          <p:nvPr/>
        </p:nvSpPr>
        <p:spPr>
          <a:xfrm>
            <a:off x="5268408" y="5476331"/>
            <a:ext cx="4282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bg1">
                    <a:lumMod val="95000"/>
                  </a:schemeClr>
                </a:solidFill>
              </a:rPr>
              <a:t>Actions (after):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2860CAF-839D-4672-A691-D02DC53B264F}"/>
              </a:ext>
            </a:extLst>
          </p:cNvPr>
          <p:cNvSpPr/>
          <p:nvPr/>
        </p:nvSpPr>
        <p:spPr>
          <a:xfrm>
            <a:off x="9377225" y="148705"/>
            <a:ext cx="2618004" cy="5414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9" name="Picture 18" descr="A picture containing drawing&#10;&#10;Description automatically generated">
            <a:extLst>
              <a:ext uri="{FF2B5EF4-FFF2-40B4-BE49-F238E27FC236}">
                <a16:creationId xmlns:a16="http://schemas.microsoft.com/office/drawing/2014/main" id="{59250664-AD7C-4AC0-8509-7024D36584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53" b="94787" l="2560" r="99744">
                        <a14:foregroundMark x1="4863" y1="42654" x2="4863" y2="42654"/>
                        <a14:foregroundMark x1="4949" y1="69194" x2="4949" y2="69194"/>
                        <a14:foregroundMark x1="2560" y1="68246" x2="2560" y2="68246"/>
                        <a14:foregroundMark x1="4949" y1="86256" x2="4949" y2="86256"/>
                        <a14:foregroundMark x1="19881" y1="51659" x2="19881" y2="51659"/>
                        <a14:foregroundMark x1="23294" y1="30332" x2="23294" y2="30332"/>
                        <a14:foregroundMark x1="43430" y1="37441" x2="43430" y2="37441"/>
                        <a14:foregroundMark x1="48038" y1="93839" x2="48038" y2="93839"/>
                        <a14:foregroundMark x1="44113" y1="94787" x2="44113" y2="94787"/>
                        <a14:foregroundMark x1="59471" y1="50237" x2="59471" y2="50237"/>
                        <a14:foregroundMark x1="78242" y1="57346" x2="78242" y2="57346"/>
                        <a14:foregroundMark x1="89846" y1="90995" x2="89846" y2="90995"/>
                        <a14:foregroundMark x1="89676" y1="70142" x2="89676" y2="70142"/>
                        <a14:foregroundMark x1="99744" y1="67773" x2="99744" y2="67773"/>
                        <a14:foregroundMark x1="58703" y1="14218" x2="58703" y2="14218"/>
                        <a14:foregroundMark x1="58788" y1="74882" x2="58788" y2="74882"/>
                        <a14:backgroundMark x1="15444" y1="94313" x2="15444" y2="94313"/>
                        <a14:backgroundMark x1="16382" y1="49763" x2="16382" y2="49763"/>
                        <a14:backgroundMark x1="17406" y1="31754" x2="17406" y2="31754"/>
                        <a14:backgroundMark x1="29693" y1="44076" x2="29693" y2="44076"/>
                        <a14:backgroundMark x1="41724" y1="36967" x2="41724" y2="36967"/>
                        <a14:backgroundMark x1="52986" y1="51185" x2="52986" y2="51185"/>
                        <a14:backgroundMark x1="68259" y1="45972" x2="68259" y2="45972"/>
                        <a14:backgroundMark x1="82850" y1="44076" x2="82850" y2="44076"/>
                        <a14:backgroundMark x1="93515" y1="26066" x2="93515" y2="26066"/>
                        <a14:backgroundMark x1="8618" y1="51185" x2="8618" y2="51185"/>
                        <a14:backgroundMark x1="1195" y1="24171" x2="1195" y2="24171"/>
                        <a14:backgroundMark x1="1792" y1="78199" x2="1792" y2="78199"/>
                        <a14:backgroundMark x1="17065" y1="78199" x2="17065" y2="781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5403" y="191131"/>
            <a:ext cx="2463137" cy="44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6054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19CE00-2576-493B-9D3C-9ACEB119B943}"/>
              </a:ext>
            </a:extLst>
          </p:cNvPr>
          <p:cNvSpPr/>
          <p:nvPr/>
        </p:nvSpPr>
        <p:spPr>
          <a:xfrm>
            <a:off x="301488" y="754684"/>
            <a:ext cx="5794512" cy="2527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b="1" dirty="0">
                <a:solidFill>
                  <a:schemeClr val="tx1"/>
                </a:solidFill>
              </a:rPr>
              <a:t>Gemba Walk Forms</a:t>
            </a:r>
            <a:endParaRPr lang="en-AU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ADB1B1-0995-42A3-8F86-C311D7916BCF}"/>
              </a:ext>
            </a:extLst>
          </p:cNvPr>
          <p:cNvSpPr/>
          <p:nvPr/>
        </p:nvSpPr>
        <p:spPr>
          <a:xfrm>
            <a:off x="6185285" y="754684"/>
            <a:ext cx="5794512" cy="2527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b="1" dirty="0">
                <a:solidFill>
                  <a:schemeClr val="tx1"/>
                </a:solidFill>
              </a:rPr>
              <a:t>Gemba Walk Guide Questions</a:t>
            </a:r>
            <a:endParaRPr lang="en-AU" sz="1400" b="1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6638B6D-1CB9-4E50-83D4-C1645130A7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3656" y="4456435"/>
            <a:ext cx="3650176" cy="2356745"/>
          </a:xfrm>
          <a:prstGeom prst="rect">
            <a:avLst/>
          </a:prstGeom>
          <a:ln w="12700">
            <a:solidFill>
              <a:schemeClr val="bg2">
                <a:lumMod val="85000"/>
              </a:schemeClr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8DC4E2B-CF90-4F73-8E53-BDEAD82B9B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986" y="1150819"/>
            <a:ext cx="4817168" cy="265278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98A11134-7A70-4763-899A-189A9B852B8E}"/>
              </a:ext>
            </a:extLst>
          </p:cNvPr>
          <p:cNvSpPr txBox="1">
            <a:spLocks/>
          </p:cNvSpPr>
          <p:nvPr/>
        </p:nvSpPr>
        <p:spPr>
          <a:xfrm>
            <a:off x="452205" y="191131"/>
            <a:ext cx="11287589" cy="371247"/>
          </a:xfr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00" cap="all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800" b="1" dirty="0"/>
              <a:t>Gemba with purpose | step by step</a:t>
            </a:r>
            <a:endParaRPr lang="en-US" sz="28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987C054-0761-4AEF-864D-ADFBE3AAB4E5}"/>
              </a:ext>
            </a:extLst>
          </p:cNvPr>
          <p:cNvSpPr/>
          <p:nvPr/>
        </p:nvSpPr>
        <p:spPr>
          <a:xfrm>
            <a:off x="301488" y="4144841"/>
            <a:ext cx="5794512" cy="2527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b="1" dirty="0">
                <a:solidFill>
                  <a:schemeClr val="tx1"/>
                </a:solidFill>
              </a:rPr>
              <a:t>Gemba PDCA</a:t>
            </a:r>
            <a:endParaRPr lang="en-AU" sz="1400" b="1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7AD2769-CA46-45E6-B835-4DDA40B59FD9}"/>
              </a:ext>
            </a:extLst>
          </p:cNvPr>
          <p:cNvSpPr/>
          <p:nvPr/>
        </p:nvSpPr>
        <p:spPr>
          <a:xfrm>
            <a:off x="6185285" y="4144843"/>
            <a:ext cx="5794512" cy="2527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b="1" dirty="0">
                <a:solidFill>
                  <a:schemeClr val="tx1"/>
                </a:solidFill>
              </a:rPr>
              <a:t>Reflection</a:t>
            </a:r>
            <a:endParaRPr lang="en-AU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70FBE237-F33C-4FB6-B572-29D5F3A590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6850899"/>
              </p:ext>
            </p:extLst>
          </p:nvPr>
        </p:nvGraphicFramePr>
        <p:xfrm>
          <a:off x="6424848" y="2542338"/>
          <a:ext cx="53731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963191DD-0443-4E39-9F4E-06B01DC32E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881863"/>
              </p:ext>
            </p:extLst>
          </p:nvPr>
        </p:nvGraphicFramePr>
        <p:xfrm>
          <a:off x="6699663" y="1080038"/>
          <a:ext cx="5040131" cy="30240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7726">
                  <a:extLst>
                    <a:ext uri="{9D8B030D-6E8A-4147-A177-3AD203B41FA5}">
                      <a16:colId xmlns:a16="http://schemas.microsoft.com/office/drawing/2014/main" val="1199714859"/>
                    </a:ext>
                  </a:extLst>
                </a:gridCol>
                <a:gridCol w="3472405">
                  <a:extLst>
                    <a:ext uri="{9D8B030D-6E8A-4147-A177-3AD203B41FA5}">
                      <a16:colId xmlns:a16="http://schemas.microsoft.com/office/drawing/2014/main" val="3630417643"/>
                    </a:ext>
                  </a:extLst>
                </a:gridCol>
              </a:tblGrid>
              <a:tr h="310252"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chemeClr val="bg1"/>
                          </a:solidFill>
                        </a:rPr>
                        <a:t>Poor Ques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chemeClr val="bg1"/>
                          </a:solidFill>
                        </a:rPr>
                        <a:t>Right Ques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503131"/>
                  </a:ext>
                </a:extLst>
              </a:tr>
              <a:tr h="310252"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C00000"/>
                          </a:solidFill>
                        </a:rPr>
                        <a:t>What can we do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Show me what should be happening (the standar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92614"/>
                  </a:ext>
                </a:extLst>
              </a:tr>
              <a:tr h="420752"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C00000"/>
                          </a:solidFill>
                        </a:rPr>
                        <a:t>Is everything alright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What is actually happening?</a:t>
                      </a:r>
                    </a:p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Why is there a difference? What are the causes?</a:t>
                      </a:r>
                    </a:p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How do you know? Please show me at the line / mach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7328911"/>
                  </a:ext>
                </a:extLst>
              </a:tr>
              <a:tr h="310252"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C00000"/>
                          </a:solidFill>
                        </a:rPr>
                        <a:t>When will you be don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Where are we supposed to be at this point? (the pla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2635509"/>
                  </a:ext>
                </a:extLst>
              </a:tr>
              <a:tr h="765004"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C00000"/>
                          </a:solidFill>
                        </a:rPr>
                        <a:t>Is everything on track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Why is there a difference? What are the causes?</a:t>
                      </a:r>
                    </a:p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How do you know? Please show me at the line / machine</a:t>
                      </a:r>
                    </a:p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What is preventing the operator from achieving the standard?</a:t>
                      </a:r>
                    </a:p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What Is the biggest obstacle / problem?</a:t>
                      </a:r>
                    </a:p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What is it about our system that enables this to happen?</a:t>
                      </a:r>
                    </a:p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What is the improvement target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1984"/>
                  </a:ext>
                </a:extLst>
              </a:tr>
              <a:tr h="310252"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C00000"/>
                          </a:solidFill>
                        </a:rPr>
                        <a:t>Good job!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What did you learn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507164"/>
                  </a:ext>
                </a:extLst>
              </a:tr>
              <a:tr h="310252"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C00000"/>
                          </a:solidFill>
                        </a:rPr>
                        <a:t>We need more of th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What are the remaining obstacles?</a:t>
                      </a:r>
                    </a:p>
                    <a:p>
                      <a:r>
                        <a:rPr lang="en-AU" sz="900" dirty="0">
                          <a:solidFill>
                            <a:srgbClr val="00B050"/>
                          </a:solidFill>
                        </a:rPr>
                        <a:t>What should we do differently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6021790"/>
                  </a:ext>
                </a:extLst>
              </a:tr>
            </a:tbl>
          </a:graphicData>
        </a:graphic>
      </p:graphicFrame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FCB4707-068D-4109-BA88-DB152F7124C9}"/>
              </a:ext>
            </a:extLst>
          </p:cNvPr>
          <p:cNvSpPr/>
          <p:nvPr/>
        </p:nvSpPr>
        <p:spPr>
          <a:xfrm>
            <a:off x="9377225" y="148705"/>
            <a:ext cx="2618004" cy="5414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B58F7A-D467-47CA-81BF-1485EB61422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9953" b="94787" l="2560" r="99744">
                        <a14:foregroundMark x1="4863" y1="42654" x2="4863" y2="42654"/>
                        <a14:foregroundMark x1="4949" y1="69194" x2="4949" y2="69194"/>
                        <a14:foregroundMark x1="2560" y1="68246" x2="2560" y2="68246"/>
                        <a14:foregroundMark x1="4949" y1="86256" x2="4949" y2="86256"/>
                        <a14:foregroundMark x1="19881" y1="51659" x2="19881" y2="51659"/>
                        <a14:foregroundMark x1="23294" y1="30332" x2="23294" y2="30332"/>
                        <a14:foregroundMark x1="43430" y1="37441" x2="43430" y2="37441"/>
                        <a14:foregroundMark x1="48038" y1="93839" x2="48038" y2="93839"/>
                        <a14:foregroundMark x1="44113" y1="94787" x2="44113" y2="94787"/>
                        <a14:foregroundMark x1="59471" y1="50237" x2="59471" y2="50237"/>
                        <a14:foregroundMark x1="78242" y1="57346" x2="78242" y2="57346"/>
                        <a14:foregroundMark x1="89846" y1="90995" x2="89846" y2="90995"/>
                        <a14:foregroundMark x1="89676" y1="70142" x2="89676" y2="70142"/>
                        <a14:foregroundMark x1="99744" y1="67773" x2="99744" y2="67773"/>
                        <a14:foregroundMark x1="58703" y1="14218" x2="58703" y2="14218"/>
                        <a14:foregroundMark x1="58788" y1="74882" x2="58788" y2="74882"/>
                        <a14:backgroundMark x1="15444" y1="94313" x2="15444" y2="94313"/>
                        <a14:backgroundMark x1="16382" y1="49763" x2="16382" y2="49763"/>
                        <a14:backgroundMark x1="17406" y1="31754" x2="17406" y2="31754"/>
                        <a14:backgroundMark x1="29693" y1="44076" x2="29693" y2="44076"/>
                        <a14:backgroundMark x1="41724" y1="36967" x2="41724" y2="36967"/>
                        <a14:backgroundMark x1="52986" y1="51185" x2="52986" y2="51185"/>
                        <a14:backgroundMark x1="68259" y1="45972" x2="68259" y2="45972"/>
                        <a14:backgroundMark x1="82850" y1="44076" x2="82850" y2="44076"/>
                        <a14:backgroundMark x1="93515" y1="26066" x2="93515" y2="26066"/>
                        <a14:backgroundMark x1="8618" y1="51185" x2="8618" y2="51185"/>
                        <a14:backgroundMark x1="1195" y1="24171" x2="1195" y2="24171"/>
                        <a14:backgroundMark x1="1792" y1="78199" x2="1792" y2="78199"/>
                        <a14:backgroundMark x1="17065" y1="78199" x2="17065" y2="781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5403" y="191131"/>
            <a:ext cx="2463137" cy="44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9332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49EE61-4E61-4605-8C03-E75529D55F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8668A-CC63-4010-806F-1C606A3B30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hy Pollen Consulting Group? Being a fresh and new business, allows us to challenge the consultancy model, building a new level of competency. Pollen is driven to make a </a:t>
            </a:r>
            <a:r>
              <a:rPr lang="en-AU" dirty="0"/>
              <a:t>difference.</a:t>
            </a:r>
          </a:p>
          <a:p>
            <a:pPr lvl="1"/>
            <a:r>
              <a:rPr lang="en-AU" dirty="0"/>
              <a:t>POLLEN CONSULTING GROUP</a:t>
            </a:r>
          </a:p>
          <a:p>
            <a:pPr lvl="1"/>
            <a:r>
              <a:rPr lang="en-AU" dirty="0"/>
              <a:t>+61 (0) 282 268 748</a:t>
            </a:r>
          </a:p>
          <a:p>
            <a:pPr lvl="1"/>
            <a:r>
              <a:rPr lang="en-GB" dirty="0"/>
              <a:t>Level 26, Bligh St Sydney 2061</a:t>
            </a:r>
          </a:p>
          <a:p>
            <a:pPr lvl="1"/>
            <a:r>
              <a:rPr lang="en-AU" dirty="0"/>
              <a:t>paul@pollenconsultinggroup.com</a:t>
            </a:r>
          </a:p>
          <a:p>
            <a:endParaRPr lang="en-AU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FBB0742-117A-448F-8636-FDA06315A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E5F807FF-7DA1-4C11-8D40-5D8BD67E5893}"/>
              </a:ext>
            </a:extLst>
          </p:cNvPr>
          <p:cNvSpPr txBox="1">
            <a:spLocks/>
          </p:cNvSpPr>
          <p:nvPr/>
        </p:nvSpPr>
        <p:spPr>
          <a:xfrm>
            <a:off x="641412" y="447250"/>
            <a:ext cx="10800000" cy="830263"/>
          </a:xfr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00" cap="all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AU"/>
              <a:t>Contac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73871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BKhnFcUB50aGMV4xotwWy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0miHtvjkijtaWWX_OA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9Z.zb05kuHT_Ns7Ig7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Nf1oNvGUWaBTYDbgbZ3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dl5yAT_EiLIZVaKFmR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419cKtTCLEOlHG1o9zy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OgZKhw_0S1yBuDjIbk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iIgcypkZu0.1Nwlx79bM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Lr9X9eEeqH.T7._d9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xzCVlC7OX0K5F4z1Pj_O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ge394ixUW7a2YdHu8G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NA3hiNhgU0WdXbH1J0EJJw"/>
</p:tagLst>
</file>

<file path=ppt/theme/theme1.xml><?xml version="1.0" encoding="utf-8"?>
<a:theme xmlns:a="http://schemas.openxmlformats.org/drawingml/2006/main" name="General Deck">
  <a:themeElements>
    <a:clrScheme name="POLLEN-November">
      <a:dk1>
        <a:sysClr val="windowText" lastClr="000000"/>
      </a:dk1>
      <a:lt1>
        <a:sysClr val="window" lastClr="FFFFFF"/>
      </a:lt1>
      <a:dk2>
        <a:srgbClr val="FFC90D"/>
      </a:dk2>
      <a:lt2>
        <a:srgbClr val="BEBEBE"/>
      </a:lt2>
      <a:accent1>
        <a:srgbClr val="808080"/>
      </a:accent1>
      <a:accent2>
        <a:srgbClr val="FFC90D"/>
      </a:accent2>
      <a:accent3>
        <a:srgbClr val="F4526A"/>
      </a:accent3>
      <a:accent4>
        <a:srgbClr val="44B2E8"/>
      </a:accent4>
      <a:accent5>
        <a:srgbClr val="00B7B0"/>
      </a:accent5>
      <a:accent6>
        <a:srgbClr val="C2D500"/>
      </a:accent6>
      <a:hlink>
        <a:srgbClr val="44B2E8"/>
      </a:hlink>
      <a:folHlink>
        <a:srgbClr val="BEBEBE"/>
      </a:folHlink>
    </a:clrScheme>
    <a:fontScheme name="Pollen">
      <a:majorFont>
        <a:latin typeface="Brandon Grotesque Medium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llen Powerpoint Template 2020" id="{4CE8F3BD-5B17-48ED-82AC-A23B42DA1BA1}" vid="{0E8069B7-4ADA-4675-8B62-1A1BC99AADCD}"/>
    </a:ext>
  </a:extLst>
</a:theme>
</file>

<file path=ppt/theme/theme2.xml><?xml version="1.0" encoding="utf-8"?>
<a:theme xmlns:a="http://schemas.openxmlformats.org/drawingml/2006/main" name="1_General Deck">
  <a:themeElements>
    <a:clrScheme name="POLLEN-November">
      <a:dk1>
        <a:sysClr val="windowText" lastClr="000000"/>
      </a:dk1>
      <a:lt1>
        <a:sysClr val="window" lastClr="FFFFFF"/>
      </a:lt1>
      <a:dk2>
        <a:srgbClr val="FFC90D"/>
      </a:dk2>
      <a:lt2>
        <a:srgbClr val="BEBEBE"/>
      </a:lt2>
      <a:accent1>
        <a:srgbClr val="808080"/>
      </a:accent1>
      <a:accent2>
        <a:srgbClr val="FFC90D"/>
      </a:accent2>
      <a:accent3>
        <a:srgbClr val="F4526A"/>
      </a:accent3>
      <a:accent4>
        <a:srgbClr val="44B2E8"/>
      </a:accent4>
      <a:accent5>
        <a:srgbClr val="00B7B0"/>
      </a:accent5>
      <a:accent6>
        <a:srgbClr val="C2D500"/>
      </a:accent6>
      <a:hlink>
        <a:srgbClr val="44B2E8"/>
      </a:hlink>
      <a:folHlink>
        <a:srgbClr val="BEBEBE"/>
      </a:folHlink>
    </a:clrScheme>
    <a:fontScheme name="Pollen">
      <a:majorFont>
        <a:latin typeface="Brandon Grotesque Medium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llen Powerpoint Template 2020" id="{4CE8F3BD-5B17-48ED-82AC-A23B42DA1BA1}" vid="{4060DC83-04AC-452C-98FC-B6F66432727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llen Powerpoint Template 2020</Template>
  <TotalTime>229</TotalTime>
  <Words>1247</Words>
  <Application>Microsoft Office PowerPoint</Application>
  <PresentationFormat>Widescreen</PresentationFormat>
  <Paragraphs>155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Microsoft JhengHei Light</vt:lpstr>
      <vt:lpstr>Arial</vt:lpstr>
      <vt:lpstr>Brandon Grotesque Medium</vt:lpstr>
      <vt:lpstr>Calibri</vt:lpstr>
      <vt:lpstr>Raleway</vt:lpstr>
      <vt:lpstr>Wingdings</vt:lpstr>
      <vt:lpstr>Wingdings 2</vt:lpstr>
      <vt:lpstr>General Deck</vt:lpstr>
      <vt:lpstr>1_General Deck</vt:lpstr>
      <vt:lpstr>PowerPoint Presentation</vt:lpstr>
      <vt:lpstr>Gemba WITH purpose – One pager</vt:lpstr>
      <vt:lpstr>PowerPoint Presentation</vt:lpstr>
      <vt:lpstr>PowerPoint Presentation</vt:lpstr>
      <vt:lpstr>The 4M’S explained (III)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yo Jongejans</dc:creator>
  <cp:lastModifiedBy>Hayo Jongejans</cp:lastModifiedBy>
  <cp:revision>7</cp:revision>
  <dcterms:created xsi:type="dcterms:W3CDTF">2020-03-24T23:49:05Z</dcterms:created>
  <dcterms:modified xsi:type="dcterms:W3CDTF">2020-03-25T06:03:17Z</dcterms:modified>
</cp:coreProperties>
</file>